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5" r:id="rId1"/>
  </p:sldMasterIdLst>
  <p:notesMasterIdLst>
    <p:notesMasterId r:id="rId12"/>
  </p:notesMasterIdLst>
  <p:sldIdLst>
    <p:sldId id="256" r:id="rId2"/>
    <p:sldId id="260" r:id="rId3"/>
    <p:sldId id="274" r:id="rId4"/>
    <p:sldId id="1040" r:id="rId5"/>
    <p:sldId id="1042" r:id="rId6"/>
    <p:sldId id="1043" r:id="rId7"/>
    <p:sldId id="1044" r:id="rId8"/>
    <p:sldId id="1045" r:id="rId9"/>
    <p:sldId id="1046" r:id="rId10"/>
    <p:sldId id="1047" r:id="rId11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F7F7E"/>
    <a:srgbClr val="6F6F6E"/>
    <a:srgbClr val="9AB8D9"/>
    <a:srgbClr val="1F497D"/>
    <a:srgbClr val="C9D8E5"/>
    <a:srgbClr val="D9D9D9"/>
    <a:srgbClr val="C3C3C3"/>
    <a:srgbClr val="A3A2A4"/>
    <a:srgbClr val="595958"/>
    <a:srgbClr val="7F7E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868"/>
    <p:restoredTop sz="93313"/>
  </p:normalViewPr>
  <p:slideViewPr>
    <p:cSldViewPr snapToGrid="0" snapToObjects="1">
      <p:cViewPr varScale="1">
        <p:scale>
          <a:sx n="104" d="100"/>
          <a:sy n="104" d="100"/>
        </p:scale>
        <p:origin x="936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389933451753297E-2"/>
          <c:y val="3.0352664543659095E-2"/>
          <c:w val="0.94207829798277676"/>
          <c:h val="0.6945711059516106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9:0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Astro Orbitor</c:v>
                </c:pt>
                <c:pt idx="1">
                  <c:v>Avatar Flight of Passage</c:v>
                </c:pt>
                <c:pt idx="2">
                  <c:v>Big Thunder Mountain Railroad</c:v>
                </c:pt>
                <c:pt idx="3">
                  <c:v>Buzz Lightyear Astro Blasters</c:v>
                </c:pt>
                <c:pt idx="4">
                  <c:v>Dumbo the Flying Elephant</c:v>
                </c:pt>
                <c:pt idx="5">
                  <c:v>Haunted Mansion</c:v>
                </c:pt>
                <c:pt idx="6">
                  <c:v>Jungle Cruise</c:v>
                </c:pt>
                <c:pt idx="7">
                  <c:v>Kali River Rapids</c:v>
                </c:pt>
                <c:pt idx="8">
                  <c:v>Mad Tea Party</c:v>
                </c:pt>
                <c:pt idx="9">
                  <c:v>Peter Pan's Flight</c:v>
                </c:pt>
                <c:pt idx="10">
                  <c:v>Pirates of the Caribbean</c:v>
                </c:pt>
                <c:pt idx="11">
                  <c:v>Space Mountain</c:v>
                </c:pt>
                <c:pt idx="12">
                  <c:v>Splash Mountain</c:v>
                </c:pt>
                <c:pt idx="13">
                  <c:v>Star Tours: The Adventures Continue</c:v>
                </c:pt>
                <c:pt idx="14">
                  <c:v>Walt Disney's Enchanted Tiki Room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320</c:v>
                </c:pt>
                <c:pt idx="1">
                  <c:v>2400</c:v>
                </c:pt>
                <c:pt idx="2">
                  <c:v>1312</c:v>
                </c:pt>
                <c:pt idx="3">
                  <c:v>350</c:v>
                </c:pt>
                <c:pt idx="4">
                  <c:v>250</c:v>
                </c:pt>
                <c:pt idx="5">
                  <c:v>1230</c:v>
                </c:pt>
                <c:pt idx="6">
                  <c:v>1360</c:v>
                </c:pt>
                <c:pt idx="7">
                  <c:v>1666</c:v>
                </c:pt>
                <c:pt idx="8">
                  <c:v>275</c:v>
                </c:pt>
                <c:pt idx="9">
                  <c:v>520</c:v>
                </c:pt>
                <c:pt idx="10">
                  <c:v>1250</c:v>
                </c:pt>
                <c:pt idx="11">
                  <c:v>1500</c:v>
                </c:pt>
                <c:pt idx="12">
                  <c:v>1375</c:v>
                </c:pt>
                <c:pt idx="13">
                  <c:v>483</c:v>
                </c:pt>
                <c:pt idx="14">
                  <c:v>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EEA-FA41-8D46-EDEBD6AA073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2:00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4EEA-FA41-8D46-EDEBD6AA073E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4EEA-FA41-8D46-EDEBD6AA073E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F-4EEA-FA41-8D46-EDEBD6AA073E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4EEA-FA41-8D46-EDEBD6AA073E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4EEA-FA41-8D46-EDEBD6AA073E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4EEA-FA41-8D46-EDEBD6AA073E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4EEA-FA41-8D46-EDEBD6AA073E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4EEA-FA41-8D46-EDEBD6AA073E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4EEA-FA41-8D46-EDEBD6AA073E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4EEA-FA41-8D46-EDEBD6AA073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Astro Orbitor</c:v>
                </c:pt>
                <c:pt idx="1">
                  <c:v>Avatar Flight of Passage</c:v>
                </c:pt>
                <c:pt idx="2">
                  <c:v>Big Thunder Mountain Railroad</c:v>
                </c:pt>
                <c:pt idx="3">
                  <c:v>Buzz Lightyear Astro Blasters</c:v>
                </c:pt>
                <c:pt idx="4">
                  <c:v>Dumbo the Flying Elephant</c:v>
                </c:pt>
                <c:pt idx="5">
                  <c:v>Haunted Mansion</c:v>
                </c:pt>
                <c:pt idx="6">
                  <c:v>Jungle Cruise</c:v>
                </c:pt>
                <c:pt idx="7">
                  <c:v>Kali River Rapids</c:v>
                </c:pt>
                <c:pt idx="8">
                  <c:v>Mad Tea Party</c:v>
                </c:pt>
                <c:pt idx="9">
                  <c:v>Peter Pan's Flight</c:v>
                </c:pt>
                <c:pt idx="10">
                  <c:v>Pirates of the Caribbean</c:v>
                </c:pt>
                <c:pt idx="11">
                  <c:v>Space Mountain</c:v>
                </c:pt>
                <c:pt idx="12">
                  <c:v>Splash Mountain</c:v>
                </c:pt>
                <c:pt idx="13">
                  <c:v>Star Tours: The Adventures Continue</c:v>
                </c:pt>
                <c:pt idx="14">
                  <c:v>Walt Disney's Enchanted Tiki Room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480</c:v>
                </c:pt>
                <c:pt idx="1">
                  <c:v>2760</c:v>
                </c:pt>
                <c:pt idx="2">
                  <c:v>1312</c:v>
                </c:pt>
                <c:pt idx="3">
                  <c:v>400</c:v>
                </c:pt>
                <c:pt idx="4">
                  <c:v>250</c:v>
                </c:pt>
                <c:pt idx="5">
                  <c:v>1640</c:v>
                </c:pt>
                <c:pt idx="6">
                  <c:v>1700</c:v>
                </c:pt>
                <c:pt idx="7">
                  <c:v>2000</c:v>
                </c:pt>
                <c:pt idx="8">
                  <c:v>733</c:v>
                </c:pt>
                <c:pt idx="9">
                  <c:v>677</c:v>
                </c:pt>
                <c:pt idx="10">
                  <c:v>1750</c:v>
                </c:pt>
                <c:pt idx="11">
                  <c:v>1833</c:v>
                </c:pt>
                <c:pt idx="12">
                  <c:v>1875</c:v>
                </c:pt>
                <c:pt idx="13">
                  <c:v>725</c:v>
                </c:pt>
                <c:pt idx="14">
                  <c:v>2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EEA-FA41-8D46-EDEBD6AA073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5:00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4EEA-FA41-8D46-EDEBD6AA073E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4EEA-FA41-8D46-EDEBD6AA073E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4EEA-FA41-8D46-EDEBD6AA073E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4EEA-FA41-8D46-EDEBD6AA073E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4EEA-FA41-8D46-EDEBD6AA073E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4EEA-FA41-8D46-EDEBD6AA073E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0-4EEA-FA41-8D46-EDEBD6AA073E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1-4EEA-FA41-8D46-EDEBD6AA073E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3-4EEA-FA41-8D46-EDEBD6AA073E}"/>
                </c:ext>
              </c:extLst>
            </c:dLbl>
            <c:dLbl>
              <c:idx val="12"/>
              <c:layout>
                <c:manualLayout>
                  <c:x val="1.862750410081165E-2"/>
                  <c:y val="-8.0564330935434372E-2"/>
                </c:manualLayout>
              </c:layout>
              <c:tx>
                <c:rich>
                  <a:bodyPr/>
                  <a:lstStyle/>
                  <a:p>
                    <a:r>
                      <a:rPr lang="en-US" altLang="zh-CN"/>
                      <a:t>2870</a:t>
                    </a:r>
                    <a:endParaRPr lang="en-US" altLang="zh-CN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5-4EEA-FA41-8D46-EDEBD6AA073E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6-4EEA-FA41-8D46-EDEBD6AA073E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9-4EEA-FA41-8D46-EDEBD6AA073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6</c:f>
              <c:strCache>
                <c:ptCount val="15"/>
                <c:pt idx="0">
                  <c:v>Astro Orbitor</c:v>
                </c:pt>
                <c:pt idx="1">
                  <c:v>Avatar Flight of Passage</c:v>
                </c:pt>
                <c:pt idx="2">
                  <c:v>Big Thunder Mountain Railroad</c:v>
                </c:pt>
                <c:pt idx="3">
                  <c:v>Buzz Lightyear Astro Blasters</c:v>
                </c:pt>
                <c:pt idx="4">
                  <c:v>Dumbo the Flying Elephant</c:v>
                </c:pt>
                <c:pt idx="5">
                  <c:v>Haunted Mansion</c:v>
                </c:pt>
                <c:pt idx="6">
                  <c:v>Jungle Cruise</c:v>
                </c:pt>
                <c:pt idx="7">
                  <c:v>Kali River Rapids</c:v>
                </c:pt>
                <c:pt idx="8">
                  <c:v>Mad Tea Party</c:v>
                </c:pt>
                <c:pt idx="9">
                  <c:v>Peter Pan's Flight</c:v>
                </c:pt>
                <c:pt idx="10">
                  <c:v>Pirates of the Caribbean</c:v>
                </c:pt>
                <c:pt idx="11">
                  <c:v>Space Mountain</c:v>
                </c:pt>
                <c:pt idx="12">
                  <c:v>Splash Mountain</c:v>
                </c:pt>
                <c:pt idx="13">
                  <c:v>Star Tours: The Adventures Continue</c:v>
                </c:pt>
                <c:pt idx="14">
                  <c:v>Walt Disney's Enchanted Tiki Room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533</c:v>
                </c:pt>
                <c:pt idx="1">
                  <c:v>3000</c:v>
                </c:pt>
                <c:pt idx="2">
                  <c:v>1312</c:v>
                </c:pt>
                <c:pt idx="3">
                  <c:v>400</c:v>
                </c:pt>
                <c:pt idx="4">
                  <c:v>200</c:v>
                </c:pt>
                <c:pt idx="5">
                  <c:v>1230</c:v>
                </c:pt>
                <c:pt idx="6">
                  <c:v>1360</c:v>
                </c:pt>
                <c:pt idx="7">
                  <c:v>2333</c:v>
                </c:pt>
                <c:pt idx="8">
                  <c:v>916</c:v>
                </c:pt>
                <c:pt idx="9">
                  <c:v>625</c:v>
                </c:pt>
                <c:pt idx="10">
                  <c:v>3000</c:v>
                </c:pt>
                <c:pt idx="11">
                  <c:v>2000</c:v>
                </c:pt>
                <c:pt idx="12">
                  <c:v>2125</c:v>
                </c:pt>
                <c:pt idx="13">
                  <c:v>604</c:v>
                </c:pt>
                <c:pt idx="14">
                  <c:v>1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EEA-FA41-8D46-EDEBD6AA073E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8:00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4EEA-FA41-8D46-EDEBD6AA073E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4EEA-FA41-8D46-EDEBD6AA073E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4EEA-FA41-8D46-EDEBD6AA073E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2-4EEA-FA41-8D46-EDEBD6AA073E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4EEA-FA41-8D46-EDEBD6AA073E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4-4EEA-FA41-8D46-EDEBD6AA073E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4EEA-FA41-8D46-EDEBD6AA073E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7-4EEA-FA41-8D46-EDEBD6AA073E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8-4EEA-FA41-8D46-EDEBD6AA073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Astro Orbitor</c:v>
                </c:pt>
                <c:pt idx="1">
                  <c:v>Avatar Flight of Passage</c:v>
                </c:pt>
                <c:pt idx="2">
                  <c:v>Big Thunder Mountain Railroad</c:v>
                </c:pt>
                <c:pt idx="3">
                  <c:v>Buzz Lightyear Astro Blasters</c:v>
                </c:pt>
                <c:pt idx="4">
                  <c:v>Dumbo the Flying Elephant</c:v>
                </c:pt>
                <c:pt idx="5">
                  <c:v>Haunted Mansion</c:v>
                </c:pt>
                <c:pt idx="6">
                  <c:v>Jungle Cruise</c:v>
                </c:pt>
                <c:pt idx="7">
                  <c:v>Kali River Rapids</c:v>
                </c:pt>
                <c:pt idx="8">
                  <c:v>Mad Tea Party</c:v>
                </c:pt>
                <c:pt idx="9">
                  <c:v>Peter Pan's Flight</c:v>
                </c:pt>
                <c:pt idx="10">
                  <c:v>Pirates of the Caribbean</c:v>
                </c:pt>
                <c:pt idx="11">
                  <c:v>Space Mountain</c:v>
                </c:pt>
                <c:pt idx="12">
                  <c:v>Splash Mountain</c:v>
                </c:pt>
                <c:pt idx="13">
                  <c:v>Star Tours: The Adventures Continue</c:v>
                </c:pt>
                <c:pt idx="14">
                  <c:v>Walt Disney's Enchanted Tiki Room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640</c:v>
                </c:pt>
                <c:pt idx="1">
                  <c:v>3480</c:v>
                </c:pt>
                <c:pt idx="2">
                  <c:v>750</c:v>
                </c:pt>
                <c:pt idx="3">
                  <c:v>600</c:v>
                </c:pt>
                <c:pt idx="4">
                  <c:v>50</c:v>
                </c:pt>
                <c:pt idx="5">
                  <c:v>1435</c:v>
                </c:pt>
                <c:pt idx="6">
                  <c:v>2210</c:v>
                </c:pt>
                <c:pt idx="7">
                  <c:v>2500</c:v>
                </c:pt>
                <c:pt idx="8">
                  <c:v>916</c:v>
                </c:pt>
                <c:pt idx="9">
                  <c:v>781</c:v>
                </c:pt>
                <c:pt idx="10">
                  <c:v>2750</c:v>
                </c:pt>
                <c:pt idx="11">
                  <c:v>1500</c:v>
                </c:pt>
                <c:pt idx="12">
                  <c:v>2375</c:v>
                </c:pt>
                <c:pt idx="13">
                  <c:v>604</c:v>
                </c:pt>
                <c:pt idx="14">
                  <c:v>1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EEA-FA41-8D46-EDEBD6AA073E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21:00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Astro Orbitor</c:v>
                </c:pt>
                <c:pt idx="1">
                  <c:v>Avatar Flight of Passage</c:v>
                </c:pt>
                <c:pt idx="2">
                  <c:v>Big Thunder Mountain Railroad</c:v>
                </c:pt>
                <c:pt idx="3">
                  <c:v>Buzz Lightyear Astro Blasters</c:v>
                </c:pt>
                <c:pt idx="4">
                  <c:v>Dumbo the Flying Elephant</c:v>
                </c:pt>
                <c:pt idx="5">
                  <c:v>Haunted Mansion</c:v>
                </c:pt>
                <c:pt idx="6">
                  <c:v>Jungle Cruise</c:v>
                </c:pt>
                <c:pt idx="7">
                  <c:v>Kali River Rapids</c:v>
                </c:pt>
                <c:pt idx="8">
                  <c:v>Mad Tea Party</c:v>
                </c:pt>
                <c:pt idx="9">
                  <c:v>Peter Pan's Flight</c:v>
                </c:pt>
                <c:pt idx="10">
                  <c:v>Pirates of the Caribbean</c:v>
                </c:pt>
                <c:pt idx="11">
                  <c:v>Space Mountain</c:v>
                </c:pt>
                <c:pt idx="12">
                  <c:v>Splash Mountain</c:v>
                </c:pt>
                <c:pt idx="13">
                  <c:v>Star Tours: The Adventures Continue</c:v>
                </c:pt>
                <c:pt idx="14">
                  <c:v>Walt Disney's Enchanted Tiki Room</c:v>
                </c:pt>
              </c:strCache>
            </c:strRef>
          </c:cat>
          <c:val>
            <c:numRef>
              <c:f>Sheet1!$F$2:$F$16</c:f>
              <c:numCache>
                <c:formatCode>General</c:formatCode>
                <c:ptCount val="15"/>
                <c:pt idx="0">
                  <c:v>480</c:v>
                </c:pt>
                <c:pt idx="1">
                  <c:v>2400</c:v>
                </c:pt>
                <c:pt idx="2">
                  <c:v>1125</c:v>
                </c:pt>
                <c:pt idx="3">
                  <c:v>450</c:v>
                </c:pt>
                <c:pt idx="4">
                  <c:v>150</c:v>
                </c:pt>
                <c:pt idx="5">
                  <c:v>205</c:v>
                </c:pt>
                <c:pt idx="6">
                  <c:v>850</c:v>
                </c:pt>
                <c:pt idx="7">
                  <c:v>1333</c:v>
                </c:pt>
                <c:pt idx="8">
                  <c:v>916</c:v>
                </c:pt>
                <c:pt idx="9">
                  <c:v>885</c:v>
                </c:pt>
                <c:pt idx="10">
                  <c:v>2250</c:v>
                </c:pt>
                <c:pt idx="11">
                  <c:v>1833</c:v>
                </c:pt>
                <c:pt idx="12">
                  <c:v>2625</c:v>
                </c:pt>
                <c:pt idx="13">
                  <c:v>120</c:v>
                </c:pt>
                <c:pt idx="14">
                  <c:v>2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EEA-FA41-8D46-EDEBD6AA07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463311280"/>
        <c:axId val="1463312960"/>
      </c:barChart>
      <c:catAx>
        <c:axId val="14633112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63312960"/>
        <c:crosses val="autoZero"/>
        <c:auto val="1"/>
        <c:lblAlgn val="ctr"/>
        <c:lblOffset val="100"/>
        <c:noMultiLvlLbl val="0"/>
      </c:catAx>
      <c:valAx>
        <c:axId val="146331296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633112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4.0683363644995656E-3"/>
          <c:y val="0.35109146849567996"/>
          <c:w val="0.91287327957989584"/>
          <c:h val="0.45485487292917437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Haunted Mansion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numFmt formatCode="#,##0_);[Red]\(#,##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C$1</c:f>
              <c:strCache>
                <c:ptCount val="2"/>
                <c:pt idx="0">
                  <c:v>2015</c:v>
                </c:pt>
                <c:pt idx="1">
                  <c:v>2017</c:v>
                </c:pt>
              </c:strCache>
            </c:strRef>
          </c:cat>
          <c:val>
            <c:numRef>
              <c:f>Sheet1!$B$2:$C$2</c:f>
              <c:numCache>
                <c:formatCode>0.00_);[Red]\(0.00\)</c:formatCode>
                <c:ptCount val="2"/>
                <c:pt idx="0">
                  <c:v>28</c:v>
                </c:pt>
                <c:pt idx="1">
                  <c:v>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0BD-0A48-861B-B849BB00C6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75693904"/>
        <c:axId val="1784403264"/>
      </c:lineChart>
      <c:catAx>
        <c:axId val="17756939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84403264"/>
        <c:crosses val="autoZero"/>
        <c:auto val="1"/>
        <c:lblAlgn val="ctr"/>
        <c:lblOffset val="100"/>
        <c:noMultiLvlLbl val="0"/>
      </c:catAx>
      <c:valAx>
        <c:axId val="1784403264"/>
        <c:scaling>
          <c:orientation val="minMax"/>
          <c:min val="20"/>
        </c:scaling>
        <c:delete val="1"/>
        <c:axPos val="l"/>
        <c:numFmt formatCode="General" sourceLinked="0"/>
        <c:majorTickMark val="out"/>
        <c:minorTickMark val="none"/>
        <c:tickLblPos val="nextTo"/>
        <c:crossAx val="1775693904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4.0683363644995656E-3"/>
          <c:y val="0.35109146849567996"/>
          <c:w val="0.91287327957989584"/>
          <c:h val="0.45485487292917437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Peter Pan's Flight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numFmt formatCode="#,##0_);[Red]\(#,##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C$1</c:f>
              <c:strCache>
                <c:ptCount val="2"/>
                <c:pt idx="0">
                  <c:v>2015</c:v>
                </c:pt>
                <c:pt idx="1">
                  <c:v>2017</c:v>
                </c:pt>
              </c:strCache>
            </c:strRef>
          </c:cat>
          <c:val>
            <c:numRef>
              <c:f>Sheet1!$B$2:$C$2</c:f>
              <c:numCache>
                <c:formatCode>0.00_);[Red]\(0.00\)</c:formatCode>
                <c:ptCount val="2"/>
                <c:pt idx="0">
                  <c:v>55</c:v>
                </c:pt>
                <c:pt idx="1">
                  <c:v>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505-104D-B2A2-7B0EE88B8D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75693904"/>
        <c:axId val="1784403264"/>
      </c:lineChart>
      <c:catAx>
        <c:axId val="17756939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84403264"/>
        <c:crosses val="autoZero"/>
        <c:auto val="1"/>
        <c:lblAlgn val="ctr"/>
        <c:lblOffset val="100"/>
        <c:noMultiLvlLbl val="0"/>
      </c:catAx>
      <c:valAx>
        <c:axId val="1784403264"/>
        <c:scaling>
          <c:orientation val="minMax"/>
          <c:min val="50"/>
        </c:scaling>
        <c:delete val="1"/>
        <c:axPos val="l"/>
        <c:numFmt formatCode="General" sourceLinked="0"/>
        <c:majorTickMark val="out"/>
        <c:minorTickMark val="none"/>
        <c:tickLblPos val="nextTo"/>
        <c:crossAx val="1775693904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4.0683363644995656E-3"/>
          <c:y val="0.35109146849567996"/>
          <c:w val="0.91287327957989584"/>
          <c:h val="0.45485487292917437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Space Mountain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numFmt formatCode="#,##0_);[Red]\(#,##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C$1</c:f>
              <c:strCache>
                <c:ptCount val="2"/>
                <c:pt idx="0">
                  <c:v>2015</c:v>
                </c:pt>
                <c:pt idx="1">
                  <c:v>2017</c:v>
                </c:pt>
              </c:strCache>
            </c:strRef>
          </c:cat>
          <c:val>
            <c:numRef>
              <c:f>Sheet1!$B$2:$C$2</c:f>
              <c:numCache>
                <c:formatCode>0.00_);[Red]\(0.00\)</c:formatCode>
                <c:ptCount val="2"/>
                <c:pt idx="0">
                  <c:v>83</c:v>
                </c:pt>
                <c:pt idx="1">
                  <c:v>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152-B841-8378-BA5F0D6788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75693904"/>
        <c:axId val="1784403264"/>
      </c:lineChart>
      <c:catAx>
        <c:axId val="17756939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84403264"/>
        <c:crosses val="autoZero"/>
        <c:auto val="1"/>
        <c:lblAlgn val="ctr"/>
        <c:lblOffset val="100"/>
        <c:noMultiLvlLbl val="0"/>
      </c:catAx>
      <c:valAx>
        <c:axId val="1784403264"/>
        <c:scaling>
          <c:orientation val="minMax"/>
        </c:scaling>
        <c:delete val="1"/>
        <c:axPos val="l"/>
        <c:numFmt formatCode="General" sourceLinked="0"/>
        <c:majorTickMark val="none"/>
        <c:minorTickMark val="none"/>
        <c:tickLblPos val="nextTo"/>
        <c:crossAx val="1775693904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4.0683363644995656E-3"/>
          <c:y val="0.35109146849567996"/>
          <c:w val="0.91287327957989584"/>
          <c:h val="0.45485487292917437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Splash Mountain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numFmt formatCode="#,##0_);[Red]\(#,##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C$1</c:f>
              <c:strCache>
                <c:ptCount val="2"/>
                <c:pt idx="0">
                  <c:v>2015</c:v>
                </c:pt>
                <c:pt idx="1">
                  <c:v>2017</c:v>
                </c:pt>
              </c:strCache>
            </c:strRef>
          </c:cat>
          <c:val>
            <c:numRef>
              <c:f>Sheet1!$B$2:$C$2</c:f>
              <c:numCache>
                <c:formatCode>0.00_);[Red]\(0.00\)</c:formatCode>
                <c:ptCount val="2"/>
                <c:pt idx="0">
                  <c:v>79</c:v>
                </c:pt>
                <c:pt idx="1">
                  <c:v>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E4C-7942-BC63-6B6BBC9FE7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75693904"/>
        <c:axId val="1784403264"/>
      </c:lineChart>
      <c:catAx>
        <c:axId val="17756939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84403264"/>
        <c:crosses val="autoZero"/>
        <c:auto val="1"/>
        <c:lblAlgn val="ctr"/>
        <c:lblOffset val="100"/>
        <c:noMultiLvlLbl val="0"/>
      </c:catAx>
      <c:valAx>
        <c:axId val="1784403264"/>
        <c:scaling>
          <c:orientation val="minMax"/>
          <c:min val="75"/>
        </c:scaling>
        <c:delete val="1"/>
        <c:axPos val="l"/>
        <c:numFmt formatCode="General" sourceLinked="0"/>
        <c:majorTickMark val="out"/>
        <c:minorTickMark val="none"/>
        <c:tickLblPos val="nextTo"/>
        <c:crossAx val="1775693904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4.0683363644995656E-3"/>
          <c:y val="0.35109146849567996"/>
          <c:w val="0.91287327957989584"/>
          <c:h val="0.45485487292917437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Star Tours: The Adventures Continue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numFmt formatCode="#,##0_);[Red]\(#,##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C$1</c:f>
              <c:strCache>
                <c:ptCount val="2"/>
                <c:pt idx="0">
                  <c:v>2015</c:v>
                </c:pt>
                <c:pt idx="1">
                  <c:v>2017</c:v>
                </c:pt>
              </c:strCache>
            </c:strRef>
          </c:cat>
          <c:val>
            <c:numRef>
              <c:f>Sheet1!$B$2:$C$2</c:f>
              <c:numCache>
                <c:formatCode>0.00_);[Red]\(0.00\)</c:formatCode>
                <c:ptCount val="2"/>
                <c:pt idx="0">
                  <c:v>21</c:v>
                </c:pt>
                <c:pt idx="1">
                  <c:v>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96A-5942-B575-12B2881FE3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75693904"/>
        <c:axId val="1784403264"/>
      </c:lineChart>
      <c:catAx>
        <c:axId val="17756939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84403264"/>
        <c:crosses val="autoZero"/>
        <c:auto val="1"/>
        <c:lblAlgn val="ctr"/>
        <c:lblOffset val="100"/>
        <c:noMultiLvlLbl val="0"/>
      </c:catAx>
      <c:valAx>
        <c:axId val="1784403264"/>
        <c:scaling>
          <c:orientation val="minMax"/>
        </c:scaling>
        <c:delete val="1"/>
        <c:axPos val="l"/>
        <c:numFmt formatCode="General" sourceLinked="0"/>
        <c:majorTickMark val="out"/>
        <c:minorTickMark val="none"/>
        <c:tickLblPos val="nextTo"/>
        <c:crossAx val="1775693904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4.0683363644995656E-3"/>
          <c:y val="0.35109146849567996"/>
          <c:w val="0.91287327957989584"/>
          <c:h val="0.45485487292917437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Pirates of the Caribbean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numFmt formatCode="#,##0_);[Red]\(#,##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C$1</c:f>
              <c:strCache>
                <c:ptCount val="2"/>
                <c:pt idx="0">
                  <c:v>2015</c:v>
                </c:pt>
                <c:pt idx="1">
                  <c:v>2017</c:v>
                </c:pt>
              </c:strCache>
            </c:strRef>
          </c:cat>
          <c:val>
            <c:numRef>
              <c:f>Sheet1!$B$2:$C$2</c:f>
              <c:numCache>
                <c:formatCode>0.00_);[Red]\(0.00\)</c:formatCode>
                <c:ptCount val="2"/>
                <c:pt idx="0">
                  <c:v>44</c:v>
                </c:pt>
                <c:pt idx="1">
                  <c:v>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E6E-054B-8105-B294313DF9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75693904"/>
        <c:axId val="1784403264"/>
      </c:lineChart>
      <c:catAx>
        <c:axId val="17756939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84403264"/>
        <c:crosses val="autoZero"/>
        <c:auto val="1"/>
        <c:lblAlgn val="ctr"/>
        <c:lblOffset val="100"/>
        <c:noMultiLvlLbl val="0"/>
      </c:catAx>
      <c:valAx>
        <c:axId val="1784403264"/>
        <c:scaling>
          <c:orientation val="minMax"/>
          <c:max val="80"/>
          <c:min val="40"/>
        </c:scaling>
        <c:delete val="1"/>
        <c:axPos val="l"/>
        <c:numFmt formatCode="General" sourceLinked="0"/>
        <c:majorTickMark val="out"/>
        <c:minorTickMark val="none"/>
        <c:tickLblPos val="nextTo"/>
        <c:crossAx val="1775693904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4.0683363644995656E-3"/>
          <c:y val="0.35109146849567996"/>
          <c:w val="0.91287327957989584"/>
          <c:h val="0.45485487292917437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Walt Disney's Enchanted Tiki Room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numFmt formatCode="#,##0_);[Red]\(#,##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C$1</c:f>
              <c:strCache>
                <c:ptCount val="2"/>
                <c:pt idx="0">
                  <c:v>2015</c:v>
                </c:pt>
                <c:pt idx="1">
                  <c:v>2017</c:v>
                </c:pt>
              </c:strCache>
            </c:strRef>
          </c:cat>
          <c:val>
            <c:numRef>
              <c:f>Sheet1!$B$2:$C$2</c:f>
              <c:numCache>
                <c:formatCode>0.00_);[Red]\(0.00\)</c:formatCode>
                <c:ptCount val="2"/>
                <c:pt idx="0">
                  <c:v>13</c:v>
                </c:pt>
                <c:pt idx="1">
                  <c:v>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E1E-1140-90C1-410E6238A7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75693904"/>
        <c:axId val="1784403264"/>
      </c:lineChart>
      <c:catAx>
        <c:axId val="17756939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84403264"/>
        <c:crosses val="autoZero"/>
        <c:auto val="1"/>
        <c:lblAlgn val="ctr"/>
        <c:lblOffset val="100"/>
        <c:noMultiLvlLbl val="0"/>
      </c:catAx>
      <c:valAx>
        <c:axId val="1784403264"/>
        <c:scaling>
          <c:orientation val="minMax"/>
          <c:max val="30"/>
          <c:min val="10"/>
        </c:scaling>
        <c:delete val="1"/>
        <c:axPos val="l"/>
        <c:numFmt formatCode="General" sourceLinked="0"/>
        <c:majorTickMark val="out"/>
        <c:minorTickMark val="none"/>
        <c:tickLblPos val="nextTo"/>
        <c:crossAx val="1775693904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 Tardines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numRef>
              <c:f>Sheet1!$A$2:$A$21</c:f>
              <c:numCache>
                <c:formatCode>General</c:formatCode>
                <c:ptCount val="2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</c:numCache>
            </c:numRef>
          </c:cat>
          <c:val>
            <c:numRef>
              <c:f>Sheet1!$B$2:$B$21</c:f>
              <c:numCache>
                <c:formatCode>General</c:formatCode>
                <c:ptCount val="20"/>
                <c:pt idx="0">
                  <c:v>10935519.8803571</c:v>
                </c:pt>
                <c:pt idx="1">
                  <c:v>10686405.2696428</c:v>
                </c:pt>
                <c:pt idx="2">
                  <c:v>10395159.729642799</c:v>
                </c:pt>
                <c:pt idx="3">
                  <c:v>10217695.6682142</c:v>
                </c:pt>
                <c:pt idx="4">
                  <c:v>9904669.0210714005</c:v>
                </c:pt>
                <c:pt idx="5">
                  <c:v>9595841.6775000002</c:v>
                </c:pt>
                <c:pt idx="6">
                  <c:v>9343613.1642857101</c:v>
                </c:pt>
                <c:pt idx="7">
                  <c:v>9195677.9807142802</c:v>
                </c:pt>
                <c:pt idx="8">
                  <c:v>9028434.0446428508</c:v>
                </c:pt>
                <c:pt idx="9">
                  <c:v>8805368.1257142797</c:v>
                </c:pt>
                <c:pt idx="10">
                  <c:v>8644826.4649999999</c:v>
                </c:pt>
                <c:pt idx="11">
                  <c:v>8524748.5899999999</c:v>
                </c:pt>
                <c:pt idx="12">
                  <c:v>8489596.8763999995</c:v>
                </c:pt>
                <c:pt idx="13">
                  <c:v>8453278.0582800005</c:v>
                </c:pt>
                <c:pt idx="14">
                  <c:v>8384641</c:v>
                </c:pt>
                <c:pt idx="15">
                  <c:v>8384641</c:v>
                </c:pt>
                <c:pt idx="16">
                  <c:v>8384641</c:v>
                </c:pt>
                <c:pt idx="17">
                  <c:v>8384641</c:v>
                </c:pt>
                <c:pt idx="18">
                  <c:v>8384641</c:v>
                </c:pt>
                <c:pt idx="19">
                  <c:v>83846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208-6F46-9348-41ABEEFB1AF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75702320"/>
        <c:axId val="1679549840"/>
      </c:lineChart>
      <c:catAx>
        <c:axId val="16757023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alpha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79549840"/>
        <c:crosses val="autoZero"/>
        <c:auto val="1"/>
        <c:lblAlgn val="ctr"/>
        <c:lblOffset val="100"/>
        <c:noMultiLvlLbl val="0"/>
      </c:catAx>
      <c:valAx>
        <c:axId val="1679549840"/>
        <c:scaling>
          <c:orientation val="minMax"/>
          <c:max val="11000000"/>
          <c:min val="8000000"/>
        </c:scaling>
        <c:delete val="0"/>
        <c:axPos val="l"/>
        <c:numFmt formatCode="#,##0_);[Red]\(#,##0\)" sourceLinked="0"/>
        <c:majorTickMark val="out"/>
        <c:minorTickMark val="out"/>
        <c:tickLblPos val="nextTo"/>
        <c:spPr>
          <a:noFill/>
          <a:ln>
            <a:solidFill>
              <a:schemeClr val="tx1">
                <a:alpha val="2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  <c:crossAx val="1675702320"/>
        <c:crosses val="autoZero"/>
        <c:crossBetween val="between"/>
        <c:minorUnit val="250000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4.0683363644995656E-3"/>
          <c:y val="0.35109146849567996"/>
          <c:w val="0.91287327957989584"/>
          <c:h val="0.45485487292917437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Avatar Flight of Passage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numFmt formatCode="#,##0_);[Red]\(#,##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C$1</c:f>
              <c:strCache>
                <c:ptCount val="2"/>
                <c:pt idx="0">
                  <c:v>2015</c:v>
                </c:pt>
                <c:pt idx="1">
                  <c:v>2017</c:v>
                </c:pt>
              </c:strCache>
            </c:strRef>
          </c:cat>
          <c:val>
            <c:numRef>
              <c:f>Sheet1!$B$2:$C$2</c:f>
              <c:numCache>
                <c:formatCode>0.00_);[Red]\(0.00\)</c:formatCode>
                <c:ptCount val="2"/>
                <c:pt idx="0">
                  <c:v>89</c:v>
                </c:pt>
                <c:pt idx="1">
                  <c:v>1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91C-354D-A53B-CD9861D269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75693904"/>
        <c:axId val="1784403264"/>
      </c:lineChart>
      <c:catAx>
        <c:axId val="17756939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84403264"/>
        <c:crosses val="autoZero"/>
        <c:auto val="1"/>
        <c:lblAlgn val="ctr"/>
        <c:lblOffset val="100"/>
        <c:noMultiLvlLbl val="0"/>
      </c:catAx>
      <c:valAx>
        <c:axId val="1784403264"/>
        <c:scaling>
          <c:orientation val="minMax"/>
          <c:max val="140"/>
          <c:min val="80"/>
        </c:scaling>
        <c:delete val="1"/>
        <c:axPos val="l"/>
        <c:numFmt formatCode="General" sourceLinked="0"/>
        <c:majorTickMark val="out"/>
        <c:minorTickMark val="none"/>
        <c:tickLblPos val="nextTo"/>
        <c:crossAx val="1775693904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4.0683363644995656E-3"/>
          <c:y val="0.35109146849567996"/>
          <c:w val="0.91287327957989584"/>
          <c:h val="0.45485487292917437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Big Thunder Mountain Railroad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numFmt formatCode="#,##0_);[Red]\(#,##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C$1</c:f>
              <c:strCache>
                <c:ptCount val="2"/>
                <c:pt idx="0">
                  <c:v>2015</c:v>
                </c:pt>
                <c:pt idx="1">
                  <c:v>2017</c:v>
                </c:pt>
              </c:strCache>
            </c:strRef>
          </c:cat>
          <c:val>
            <c:numRef>
              <c:f>Sheet1!$B$2:$C$2</c:f>
              <c:numCache>
                <c:formatCode>0.00_);[Red]\(0.00\)</c:formatCode>
                <c:ptCount val="2"/>
                <c:pt idx="0">
                  <c:v>31</c:v>
                </c:pt>
                <c:pt idx="1">
                  <c:v>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99D-0142-B826-4A56DD0FF7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75693904"/>
        <c:axId val="1784403264"/>
      </c:lineChart>
      <c:catAx>
        <c:axId val="17756939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84403264"/>
        <c:crosses val="autoZero"/>
        <c:auto val="1"/>
        <c:lblAlgn val="ctr"/>
        <c:lblOffset val="100"/>
        <c:noMultiLvlLbl val="0"/>
      </c:catAx>
      <c:valAx>
        <c:axId val="1784403264"/>
        <c:scaling>
          <c:orientation val="minMax"/>
          <c:max val="120"/>
          <c:min val="30"/>
        </c:scaling>
        <c:delete val="1"/>
        <c:axPos val="l"/>
        <c:numFmt formatCode="General" sourceLinked="0"/>
        <c:majorTickMark val="out"/>
        <c:minorTickMark val="none"/>
        <c:tickLblPos val="nextTo"/>
        <c:crossAx val="1775693904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4.0683363644995656E-3"/>
          <c:y val="0.35109146849567996"/>
          <c:w val="0.91287327957989584"/>
          <c:h val="0.45485487292917437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Buzz Lightyear Astro Blaster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numFmt formatCode="#,##0_);[Red]\(#,##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C$1</c:f>
              <c:strCache>
                <c:ptCount val="2"/>
                <c:pt idx="0">
                  <c:v>2015</c:v>
                </c:pt>
                <c:pt idx="1">
                  <c:v>2017</c:v>
                </c:pt>
              </c:strCache>
            </c:strRef>
          </c:cat>
          <c:val>
            <c:numRef>
              <c:f>Sheet1!$B$2:$C$2</c:f>
              <c:numCache>
                <c:formatCode>0.00_);[Red]\(0.00\)</c:formatCode>
                <c:ptCount val="2"/>
                <c:pt idx="0">
                  <c:v>40</c:v>
                </c:pt>
                <c:pt idx="1">
                  <c:v>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E7A-2541-8F05-58140EB750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75693904"/>
        <c:axId val="1784403264"/>
      </c:lineChart>
      <c:catAx>
        <c:axId val="17756939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84403264"/>
        <c:crosses val="autoZero"/>
        <c:auto val="1"/>
        <c:lblAlgn val="ctr"/>
        <c:lblOffset val="100"/>
        <c:noMultiLvlLbl val="0"/>
      </c:catAx>
      <c:valAx>
        <c:axId val="1784403264"/>
        <c:scaling>
          <c:orientation val="minMax"/>
          <c:min val="39"/>
        </c:scaling>
        <c:delete val="1"/>
        <c:axPos val="l"/>
        <c:numFmt formatCode="General" sourceLinked="0"/>
        <c:majorTickMark val="out"/>
        <c:minorTickMark val="none"/>
        <c:tickLblPos val="nextTo"/>
        <c:crossAx val="1775693904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4.0683363644995656E-3"/>
          <c:y val="0.35109146849567996"/>
          <c:w val="0.91287327957989584"/>
          <c:h val="0.45485487292917437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Astro Orbitor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numFmt formatCode="#,##0_);[Red]\(#,##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C$1</c:f>
              <c:strCache>
                <c:ptCount val="2"/>
                <c:pt idx="0">
                  <c:v>2015</c:v>
                </c:pt>
                <c:pt idx="1">
                  <c:v>2017</c:v>
                </c:pt>
              </c:strCache>
            </c:strRef>
          </c:cat>
          <c:val>
            <c:numRef>
              <c:f>Sheet1!$B$2:$C$2</c:f>
              <c:numCache>
                <c:formatCode>0.00_);[Red]\(0.00\)</c:formatCode>
                <c:ptCount val="2"/>
                <c:pt idx="0">
                  <c:v>46</c:v>
                </c:pt>
                <c:pt idx="1">
                  <c:v>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E3D-0B4A-A696-123927A4D1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75693904"/>
        <c:axId val="1784403264"/>
      </c:lineChart>
      <c:catAx>
        <c:axId val="17756939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84403264"/>
        <c:crosses val="autoZero"/>
        <c:auto val="1"/>
        <c:lblAlgn val="ctr"/>
        <c:lblOffset val="100"/>
        <c:noMultiLvlLbl val="0"/>
      </c:catAx>
      <c:valAx>
        <c:axId val="1784403264"/>
        <c:scaling>
          <c:orientation val="minMax"/>
          <c:min val="40"/>
        </c:scaling>
        <c:delete val="1"/>
        <c:axPos val="l"/>
        <c:numFmt formatCode="General" sourceLinked="0"/>
        <c:majorTickMark val="out"/>
        <c:minorTickMark val="none"/>
        <c:tickLblPos val="nextTo"/>
        <c:crossAx val="1775693904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4.0683363644995656E-3"/>
          <c:y val="0.35109146849567996"/>
          <c:w val="0.91287327957989584"/>
          <c:h val="0.45485487292917437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Dumbo the Flying Elephant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FFC000"/>
              </a:solidFill>
              <a:ln w="9525">
                <a:solidFill>
                  <a:srgbClr val="FFC000"/>
                </a:solidFill>
              </a:ln>
              <a:effectLst/>
            </c:spPr>
          </c:marker>
          <c:dLbls>
            <c:numFmt formatCode="#,##0_);[Red]\(#,##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C$1</c:f>
              <c:strCache>
                <c:ptCount val="2"/>
                <c:pt idx="0">
                  <c:v>2015</c:v>
                </c:pt>
                <c:pt idx="1">
                  <c:v>2017</c:v>
                </c:pt>
              </c:strCache>
            </c:strRef>
          </c:cat>
          <c:val>
            <c:numRef>
              <c:f>Sheet1!$B$2:$C$2</c:f>
              <c:numCache>
                <c:formatCode>0.00_);[Red]\(0.00\)</c:formatCode>
                <c:ptCount val="2"/>
                <c:pt idx="0">
                  <c:v>69</c:v>
                </c:pt>
                <c:pt idx="1">
                  <c:v>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A66-C64E-971D-6B10C3C8E6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75693904"/>
        <c:axId val="1784403264"/>
      </c:lineChart>
      <c:catAx>
        <c:axId val="17756939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84403264"/>
        <c:crosses val="autoZero"/>
        <c:auto val="1"/>
        <c:lblAlgn val="ctr"/>
        <c:lblOffset val="100"/>
        <c:noMultiLvlLbl val="0"/>
      </c:catAx>
      <c:valAx>
        <c:axId val="1784403264"/>
        <c:scaling>
          <c:orientation val="minMax"/>
          <c:max val="80"/>
          <c:min val="60"/>
        </c:scaling>
        <c:delete val="1"/>
        <c:axPos val="l"/>
        <c:numFmt formatCode="General" sourceLinked="0"/>
        <c:majorTickMark val="out"/>
        <c:minorTickMark val="none"/>
        <c:tickLblPos val="nextTo"/>
        <c:crossAx val="1775693904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4.0683363644995656E-3"/>
          <c:y val="0.35109146849567996"/>
          <c:w val="0.91287327957989584"/>
          <c:h val="0.45485487292917437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Jungle Cruise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numFmt formatCode="#,##0_);[Red]\(#,##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C$1</c:f>
              <c:strCache>
                <c:ptCount val="2"/>
                <c:pt idx="0">
                  <c:v>2015</c:v>
                </c:pt>
                <c:pt idx="1">
                  <c:v>2017</c:v>
                </c:pt>
              </c:strCache>
            </c:strRef>
          </c:cat>
          <c:val>
            <c:numRef>
              <c:f>Sheet1!$B$2:$C$2</c:f>
              <c:numCache>
                <c:formatCode>0.00_);[Red]\(0.00\)</c:formatCode>
                <c:ptCount val="2"/>
                <c:pt idx="0">
                  <c:v>44</c:v>
                </c:pt>
                <c:pt idx="1">
                  <c:v>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313-A14D-94B8-FF51EBED33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75693904"/>
        <c:axId val="1784403264"/>
      </c:lineChart>
      <c:catAx>
        <c:axId val="17756939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84403264"/>
        <c:crosses val="autoZero"/>
        <c:auto val="1"/>
        <c:lblAlgn val="ctr"/>
        <c:lblOffset val="100"/>
        <c:noMultiLvlLbl val="0"/>
      </c:catAx>
      <c:valAx>
        <c:axId val="1784403264"/>
        <c:scaling>
          <c:orientation val="minMax"/>
          <c:min val="40"/>
        </c:scaling>
        <c:delete val="1"/>
        <c:axPos val="l"/>
        <c:numFmt formatCode="General" sourceLinked="0"/>
        <c:majorTickMark val="out"/>
        <c:minorTickMark val="none"/>
        <c:tickLblPos val="nextTo"/>
        <c:crossAx val="1775693904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4.0683363644995656E-3"/>
          <c:y val="0.35109146849567996"/>
          <c:w val="0.91287327957989584"/>
          <c:h val="0.45485487292917437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Kali River Rapid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numFmt formatCode="#,##0_);[Red]\(#,##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C$1</c:f>
              <c:strCache>
                <c:ptCount val="2"/>
                <c:pt idx="0">
                  <c:v>2015</c:v>
                </c:pt>
                <c:pt idx="1">
                  <c:v>2017</c:v>
                </c:pt>
              </c:strCache>
            </c:strRef>
          </c:cat>
          <c:val>
            <c:numRef>
              <c:f>Sheet1!$B$2:$C$2</c:f>
              <c:numCache>
                <c:formatCode>0.00_);[Red]\(0.00\)</c:formatCode>
                <c:ptCount val="2"/>
                <c:pt idx="0">
                  <c:v>59</c:v>
                </c:pt>
                <c:pt idx="1">
                  <c:v>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057-7F48-A9AF-D22A42CAA3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75693904"/>
        <c:axId val="1784403264"/>
      </c:lineChart>
      <c:catAx>
        <c:axId val="17756939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84403264"/>
        <c:crosses val="autoZero"/>
        <c:auto val="1"/>
        <c:lblAlgn val="ctr"/>
        <c:lblOffset val="100"/>
        <c:noMultiLvlLbl val="0"/>
      </c:catAx>
      <c:valAx>
        <c:axId val="1784403264"/>
        <c:scaling>
          <c:orientation val="minMax"/>
          <c:min val="50"/>
        </c:scaling>
        <c:delete val="1"/>
        <c:axPos val="l"/>
        <c:numFmt formatCode="General" sourceLinked="0"/>
        <c:majorTickMark val="out"/>
        <c:minorTickMark val="none"/>
        <c:tickLblPos val="nextTo"/>
        <c:crossAx val="1775693904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4.0683363644995656E-3"/>
          <c:y val="0.35109146849567996"/>
          <c:w val="0.91287327957989584"/>
          <c:h val="0.45485487292917437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Mad Tea Party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numFmt formatCode="#,##0_);[Red]\(#,##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C$1</c:f>
              <c:strCache>
                <c:ptCount val="2"/>
                <c:pt idx="0">
                  <c:v>2015</c:v>
                </c:pt>
                <c:pt idx="1">
                  <c:v>2017</c:v>
                </c:pt>
              </c:strCache>
            </c:strRef>
          </c:cat>
          <c:val>
            <c:numRef>
              <c:f>Sheet1!$B$2:$C$2</c:f>
              <c:numCache>
                <c:formatCode>0.00_);[Red]\(0.00\)</c:formatCode>
                <c:ptCount val="2"/>
                <c:pt idx="0">
                  <c:v>36</c:v>
                </c:pt>
                <c:pt idx="1">
                  <c:v>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401-904D-A0FE-EDB72F8598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75693904"/>
        <c:axId val="1784403264"/>
      </c:lineChart>
      <c:catAx>
        <c:axId val="17756939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84403264"/>
        <c:crosses val="autoZero"/>
        <c:auto val="1"/>
        <c:lblAlgn val="ctr"/>
        <c:lblOffset val="100"/>
        <c:noMultiLvlLbl val="0"/>
      </c:catAx>
      <c:valAx>
        <c:axId val="1784403264"/>
        <c:scaling>
          <c:orientation val="minMax"/>
        </c:scaling>
        <c:delete val="1"/>
        <c:axPos val="l"/>
        <c:numFmt formatCode="General" sourceLinked="0"/>
        <c:majorTickMark val="none"/>
        <c:minorTickMark val="none"/>
        <c:tickLblPos val="nextTo"/>
        <c:crossAx val="1775693904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84326-A091-BB40-9423-D36A32525B37}" type="datetimeFigureOut">
              <a:rPr kumimoji="1" lang="zh-CN" altLang="en-US" smtClean="0"/>
              <a:t>2019/4/30</a:t>
            </a:fld>
            <a:endParaRPr kumimoji="1"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kumimoji="1" lang="zh-CN" altLang="en-US"/>
              <a:t>编辑母版文本样式
第二级
第三级
第四级
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9846870-BAC1-9D4A-AE4A-B411DD78888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4026680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846870-BAC1-9D4A-AE4A-B411DD788887}" type="slidenum">
              <a:rPr kumimoji="1" lang="zh-CN" altLang="en-US" smtClean="0"/>
              <a:t>1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1764529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846870-BAC1-9D4A-AE4A-B411DD788887}" type="slidenum">
              <a:rPr kumimoji="1" lang="zh-CN" altLang="en-US" smtClean="0"/>
              <a:t>2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3684359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846870-BAC1-9D4A-AE4A-B411DD788887}" type="slidenum">
              <a:rPr kumimoji="1" lang="zh-CN" altLang="en-US" smtClean="0"/>
              <a:t>3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7226415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846870-BAC1-9D4A-AE4A-B411DD788887}" type="slidenum">
              <a:rPr kumimoji="1" lang="zh-CN" altLang="en-US" smtClean="0"/>
              <a:t>4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9634963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E635D11-8A08-488E-8BD8-D8F0C9B4D7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36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E635D11-8A08-488E-8BD8-D8F0C9B4D7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430010" y="6474695"/>
            <a:ext cx="4868985" cy="262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7287" tIns="53643" rIns="107287" bIns="53643" anchor="b">
            <a:spAutoFit/>
          </a:bodyPr>
          <a:lstStyle>
            <a:lvl1pPr eaLnBrk="0" hangingPunct="0">
              <a:tabLst>
                <a:tab pos="1608138" algn="l"/>
              </a:tabLst>
              <a:defRPr sz="1900" b="1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1pPr>
            <a:lvl2pPr marL="742950" indent="-285750" eaLnBrk="0" hangingPunct="0">
              <a:tabLst>
                <a:tab pos="1608138" algn="l"/>
              </a:tabLst>
              <a:defRPr sz="1900" b="1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2pPr>
            <a:lvl3pPr marL="1143000" indent="-228600" eaLnBrk="0" hangingPunct="0">
              <a:tabLst>
                <a:tab pos="1608138" algn="l"/>
              </a:tabLst>
              <a:defRPr sz="1900" b="1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3pPr>
            <a:lvl4pPr marL="1600200" indent="-228600" eaLnBrk="0" hangingPunct="0">
              <a:tabLst>
                <a:tab pos="1608138" algn="l"/>
              </a:tabLst>
              <a:defRPr sz="1900" b="1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4pPr>
            <a:lvl5pPr marL="2057400" indent="-228600" eaLnBrk="0" hangingPunct="0">
              <a:tabLst>
                <a:tab pos="1608138" algn="l"/>
              </a:tabLst>
              <a:defRPr sz="1900" b="1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608138" algn="l"/>
              </a:tabLst>
              <a:defRPr sz="1900" b="1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608138" algn="l"/>
              </a:tabLst>
              <a:defRPr sz="1900" b="1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608138" algn="l"/>
              </a:tabLst>
              <a:defRPr sz="1900" b="1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608138" algn="l"/>
              </a:tabLst>
              <a:defRPr sz="1900" b="1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9pPr>
          </a:lstStyle>
          <a:p>
            <a:pPr>
              <a:defRPr/>
            </a:pPr>
            <a:r>
              <a:rPr lang="en-US" altLang="zh-CN" sz="1000" b="0" dirty="0">
                <a:solidFill>
                  <a:schemeClr val="bg1"/>
                </a:solidFill>
                <a:latin typeface="+mn-ea"/>
                <a:ea typeface="+mn-ea"/>
              </a:rPr>
              <a:t>©2018</a:t>
            </a:r>
            <a:r>
              <a:rPr lang="zh-CN" altLang="en-US" sz="1000" b="0" dirty="0">
                <a:solidFill>
                  <a:schemeClr val="bg1"/>
                </a:solidFill>
                <a:latin typeface="+mn-ea"/>
                <a:ea typeface="+mn-ea"/>
              </a:rPr>
              <a:t>埃森哲版权所有</a:t>
            </a:r>
            <a:endParaRPr lang="zh-CN" altLang="zh-CN" sz="1000" b="0" dirty="0">
              <a:solidFill>
                <a:schemeClr val="bg1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548839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9BE4B2D-B8E2-4ECE-835D-0DCE2AAD56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60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9BE4B2D-B8E2-4ECE-835D-0DCE2AAD56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81520" y="104775"/>
            <a:ext cx="7901231" cy="762000"/>
          </a:xfrm>
          <a:prstGeom prst="rect">
            <a:avLst/>
          </a:prstGeom>
        </p:spPr>
        <p:txBody>
          <a:bodyPr anchor="b" anchorCtr="0"/>
          <a:lstStyle>
            <a:lvl1pPr>
              <a:defRPr sz="2400">
                <a:solidFill>
                  <a:schemeClr val="tx1"/>
                </a:solidFill>
                <a:latin typeface="+mn-ea"/>
                <a:ea typeface="+mn-ea"/>
              </a:defRPr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55955" y="1009144"/>
            <a:ext cx="11887200" cy="5510564"/>
          </a:xfrm>
          <a:prstGeom prst="rect">
            <a:avLst/>
          </a:prstGeom>
        </p:spPr>
        <p:txBody>
          <a:bodyPr/>
          <a:lstStyle>
            <a:lvl1pPr>
              <a:defRPr sz="1600">
                <a:latin typeface="+mn-ea"/>
                <a:ea typeface="+mn-ea"/>
              </a:defRPr>
            </a:lvl1pPr>
            <a:lvl2pPr>
              <a:defRPr sz="1400">
                <a:latin typeface="+mn-ea"/>
                <a:ea typeface="+mn-ea"/>
              </a:defRPr>
            </a:lvl2pPr>
            <a:lvl3pPr>
              <a:defRPr sz="1200">
                <a:latin typeface="+mn-ea"/>
                <a:ea typeface="+mn-ea"/>
              </a:defRPr>
            </a:lvl3pPr>
            <a:lvl4pPr>
              <a:defRPr sz="1100">
                <a:latin typeface="+mn-ea"/>
                <a:ea typeface="+mn-ea"/>
              </a:defRPr>
            </a:lvl4pPr>
            <a:lvl5pPr>
              <a:defRPr sz="1000">
                <a:latin typeface="+mn-ea"/>
                <a:ea typeface="+mn-ea"/>
              </a:defRPr>
            </a:lvl5pPr>
          </a:lstStyle>
          <a:p>
            <a:pPr lvl="0"/>
            <a:r>
              <a:rPr lang="en-US" altLang="zh-CN" dirty="0"/>
              <a:t>Click to 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4" name="Line 9"/>
          <p:cNvSpPr>
            <a:spLocks noChangeShapeType="1"/>
          </p:cNvSpPr>
          <p:nvPr userDrawn="1"/>
        </p:nvSpPr>
        <p:spPr bwMode="auto">
          <a:xfrm>
            <a:off x="255955" y="901700"/>
            <a:ext cx="11701584" cy="0"/>
          </a:xfrm>
          <a:prstGeom prst="line">
            <a:avLst/>
          </a:prstGeom>
          <a:noFill/>
          <a:ln w="28575">
            <a:solidFill>
              <a:srgbClr val="C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3818" tIns="42840" rIns="83818" bIns="42840"/>
          <a:lstStyle/>
          <a:p>
            <a:endParaRPr lang="en-US" sz="1900" dirty="0">
              <a:latin typeface="+mn-ea"/>
              <a:ea typeface="+mn-ea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11032472" y="6566177"/>
            <a:ext cx="1424354" cy="2706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8032" tIns="54016" rIns="108032" bIns="54016">
            <a:spAutoFit/>
          </a:bodyPr>
          <a:lstStyle/>
          <a:p>
            <a:pPr algn="ctr" defTabSz="894050" eaLnBrk="0" hangingPunct="0">
              <a:defRPr/>
            </a:pPr>
            <a:r>
              <a:rPr kumimoji="1" lang="en-US" altLang="zh-CN" sz="1050" b="0" dirty="0">
                <a:latin typeface="+mn-ea"/>
                <a:ea typeface="+mn-ea"/>
              </a:rPr>
              <a:t>Page</a:t>
            </a:r>
            <a:r>
              <a:rPr kumimoji="1" lang="zh-CN" altLang="en-US" sz="1050" b="0" dirty="0">
                <a:latin typeface="+mn-ea"/>
                <a:ea typeface="+mn-ea"/>
              </a:rPr>
              <a:t> </a:t>
            </a:r>
            <a:fld id="{60E356E1-2940-4E09-9D05-83B6F501778F}" type="slidenum">
              <a:rPr kumimoji="1" lang="en-US" altLang="zh-TW" sz="1050" b="0">
                <a:latin typeface="+mn-ea"/>
                <a:ea typeface="+mn-ea"/>
              </a:rPr>
              <a:pPr algn="ctr" defTabSz="894050" eaLnBrk="0" hangingPunct="0">
                <a:defRPr/>
              </a:pPr>
              <a:t>‹#›</a:t>
            </a:fld>
            <a:r>
              <a:rPr kumimoji="1" lang="en-US" altLang="zh-TW" sz="1050" b="0" dirty="0">
                <a:latin typeface="+mn-ea"/>
                <a:ea typeface="+mn-ea"/>
              </a:rPr>
              <a:t> </a:t>
            </a:r>
            <a:endParaRPr kumimoji="1" lang="zh-TW" altLang="en-US" sz="1050" b="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4924298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smtClean="0"/>
              <a:pPr/>
              <a:t>4/30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graphicFrame>
        <p:nvGraphicFramePr>
          <p:cNvPr id="10" name="Object 1" hidden="1">
            <a:extLst>
              <a:ext uri="{FF2B5EF4-FFF2-40B4-BE49-F238E27FC236}">
                <a16:creationId xmlns:a16="http://schemas.microsoft.com/office/drawing/2014/main" id="{7EF0D52E-9700-DD4D-A018-89BD251ACF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13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8770605-753A-4CB9-B289-863183B636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35C5BF4E-23E1-EA4F-9F2F-278088BB795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423054" y="93427"/>
            <a:ext cx="1500134" cy="739649"/>
          </a:xfrm>
          <a:prstGeom prst="rect">
            <a:avLst/>
          </a:prstGeom>
        </p:spPr>
      </p:pic>
      <p:sp>
        <p:nvSpPr>
          <p:cNvPr id="12" name="矩形 11">
            <a:extLst>
              <a:ext uri="{FF2B5EF4-FFF2-40B4-BE49-F238E27FC236}">
                <a16:creationId xmlns:a16="http://schemas.microsoft.com/office/drawing/2014/main" id="{0B5FB3CB-16ED-6B4F-82A7-C81C34FFA686}"/>
              </a:ext>
            </a:extLst>
          </p:cNvPr>
          <p:cNvSpPr/>
          <p:nvPr userDrawn="1"/>
        </p:nvSpPr>
        <p:spPr bwMode="auto">
          <a:xfrm>
            <a:off x="11317266" y="463252"/>
            <a:ext cx="745299" cy="106471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214135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.xml"/><Relationship Id="rId13" Type="http://schemas.openxmlformats.org/officeDocument/2006/relationships/chart" Target="../charts/chart12.xml"/><Relationship Id="rId3" Type="http://schemas.openxmlformats.org/officeDocument/2006/relationships/chart" Target="../charts/chart2.xml"/><Relationship Id="rId7" Type="http://schemas.openxmlformats.org/officeDocument/2006/relationships/chart" Target="../charts/chart6.xml"/><Relationship Id="rId12" Type="http://schemas.openxmlformats.org/officeDocument/2006/relationships/chart" Target="../charts/chart11.xml"/><Relationship Id="rId17" Type="http://schemas.openxmlformats.org/officeDocument/2006/relationships/chart" Target="../charts/chart16.xml"/><Relationship Id="rId2" Type="http://schemas.openxmlformats.org/officeDocument/2006/relationships/notesSlide" Target="../notesSlides/notesSlide4.xml"/><Relationship Id="rId16" Type="http://schemas.openxmlformats.org/officeDocument/2006/relationships/chart" Target="../charts/chart15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5.xml"/><Relationship Id="rId11" Type="http://schemas.openxmlformats.org/officeDocument/2006/relationships/chart" Target="../charts/chart10.xml"/><Relationship Id="rId5" Type="http://schemas.openxmlformats.org/officeDocument/2006/relationships/chart" Target="../charts/chart4.xml"/><Relationship Id="rId15" Type="http://schemas.openxmlformats.org/officeDocument/2006/relationships/chart" Target="../charts/chart14.xml"/><Relationship Id="rId10" Type="http://schemas.openxmlformats.org/officeDocument/2006/relationships/chart" Target="../charts/chart9.xml"/><Relationship Id="rId4" Type="http://schemas.openxmlformats.org/officeDocument/2006/relationships/chart" Target="../charts/chart3.xml"/><Relationship Id="rId9" Type="http://schemas.openxmlformats.org/officeDocument/2006/relationships/chart" Target="../charts/chart8.xml"/><Relationship Id="rId14" Type="http://schemas.openxmlformats.org/officeDocument/2006/relationships/chart" Target="../charts/char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id="{F5593940-9820-D045-89F1-F68E1BF4C104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91000"/>
          </a:blip>
          <a:stretch>
            <a:fillRect/>
          </a:stretch>
        </p:blipFill>
        <p:spPr>
          <a:xfrm>
            <a:off x="-1349316" y="-1089887"/>
            <a:ext cx="13690939" cy="8342026"/>
          </a:xfrm>
          <a:prstGeom prst="rect">
            <a:avLst/>
          </a:prstGeom>
        </p:spPr>
      </p:pic>
      <p:sp>
        <p:nvSpPr>
          <p:cNvPr id="8" name="直角三角形 10">
            <a:extLst>
              <a:ext uri="{FF2B5EF4-FFF2-40B4-BE49-F238E27FC236}">
                <a16:creationId xmlns:a16="http://schemas.microsoft.com/office/drawing/2014/main" id="{A8FFBBA5-F5FE-E54F-8B9A-1ED84435FC94}"/>
              </a:ext>
            </a:extLst>
          </p:cNvPr>
          <p:cNvSpPr>
            <a:spLocks noChangeArrowheads="1"/>
          </p:cNvSpPr>
          <p:nvPr/>
        </p:nvSpPr>
        <p:spPr bwMode="auto">
          <a:xfrm rot="1740000" flipH="1">
            <a:off x="5129075" y="-4320676"/>
            <a:ext cx="7161843" cy="8327785"/>
          </a:xfrm>
          <a:prstGeom prst="rtTriangle">
            <a:avLst/>
          </a:prstGeom>
          <a:solidFill>
            <a:srgbClr val="00657F">
              <a:alpha val="30980"/>
            </a:srgbClr>
          </a:solidFill>
          <a:ln>
            <a:noFill/>
          </a:ln>
          <a:extLst/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zh-CN" altLang="zh-CN">
              <a:solidFill>
                <a:srgbClr val="FFFFFF"/>
              </a:solidFill>
              <a:latin typeface="宋体" panose="02010600030101010101" pitchFamily="2" charset="-122"/>
              <a:sym typeface="宋体" panose="02010600030101010101" pitchFamily="2" charset="-122"/>
            </a:endParaRPr>
          </a:p>
        </p:txBody>
      </p:sp>
      <p:sp>
        <p:nvSpPr>
          <p:cNvPr id="9" name="Rectangle 1">
            <a:extLst>
              <a:ext uri="{FF2B5EF4-FFF2-40B4-BE49-F238E27FC236}">
                <a16:creationId xmlns:a16="http://schemas.microsoft.com/office/drawing/2014/main" id="{FEBB14AB-86B3-9249-917B-03B82420F3E3}"/>
              </a:ext>
            </a:extLst>
          </p:cNvPr>
          <p:cNvSpPr/>
          <p:nvPr/>
        </p:nvSpPr>
        <p:spPr bwMode="auto">
          <a:xfrm>
            <a:off x="6784557" y="1817936"/>
            <a:ext cx="5407443" cy="194134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50000"/>
              </a:lnSpc>
            </a:pPr>
            <a:r>
              <a:rPr lang="en" altLang="zh-CN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alt Disney World</a:t>
            </a:r>
          </a:p>
        </p:txBody>
      </p:sp>
      <p:sp>
        <p:nvSpPr>
          <p:cNvPr id="12" name="Rectangle 1">
            <a:extLst>
              <a:ext uri="{FF2B5EF4-FFF2-40B4-BE49-F238E27FC236}">
                <a16:creationId xmlns:a16="http://schemas.microsoft.com/office/drawing/2014/main" id="{DE747CD2-7189-E14B-A7D6-7915D57038BF}"/>
              </a:ext>
            </a:extLst>
          </p:cNvPr>
          <p:cNvSpPr/>
          <p:nvPr/>
        </p:nvSpPr>
        <p:spPr bwMode="auto">
          <a:xfrm>
            <a:off x="6784557" y="3541263"/>
            <a:ext cx="5866227" cy="194134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indent="0" algn="ctr">
              <a:lnSpc>
                <a:spcPct val="150000"/>
              </a:lnSpc>
              <a:buNone/>
            </a:pPr>
            <a:r>
              <a:rPr lang="en-US" altLang="zh-CN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Ye Yuan</a:t>
            </a:r>
          </a:p>
          <a:p>
            <a:pPr marL="0" indent="0" algn="ctr">
              <a:lnSpc>
                <a:spcPct val="150000"/>
              </a:lnSpc>
              <a:buNone/>
            </a:pPr>
            <a:r>
              <a:rPr lang="en-US" altLang="zh-CN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Yifan</a:t>
            </a:r>
            <a:r>
              <a:rPr lang="en-US" altLang="zh-CN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Shen</a:t>
            </a:r>
          </a:p>
          <a:p>
            <a:pPr algn="ctr">
              <a:lnSpc>
                <a:spcPct val="150000"/>
              </a:lnSpc>
            </a:pPr>
            <a:r>
              <a:rPr lang="en-US" altLang="zh-CN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ianjiao Wei</a:t>
            </a:r>
          </a:p>
          <a:p>
            <a:pPr marL="0" indent="0" algn="ctr">
              <a:lnSpc>
                <a:spcPct val="150000"/>
              </a:lnSpc>
              <a:buNone/>
            </a:pPr>
            <a:r>
              <a:rPr lang="en-US" altLang="zh-CN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Linyun</a:t>
            </a:r>
            <a:r>
              <a:rPr lang="en-US" altLang="zh-CN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Wei</a:t>
            </a:r>
          </a:p>
        </p:txBody>
      </p:sp>
    </p:spTree>
    <p:extLst>
      <p:ext uri="{BB962C8B-B14F-4D97-AF65-F5344CB8AC3E}">
        <p14:creationId xmlns:p14="http://schemas.microsoft.com/office/powerpoint/2010/main" val="10265436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7C90824-1267-7442-AB76-AFEE77A317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382" y="147638"/>
            <a:ext cx="7901231" cy="762000"/>
          </a:xfrm>
        </p:spPr>
        <p:txBody>
          <a:bodyPr/>
          <a:lstStyle/>
          <a:p>
            <a:r>
              <a:rPr kumimoji="1" lang="en-US" altLang="zh-CN" dirty="0"/>
              <a:t>Total</a:t>
            </a:r>
            <a:r>
              <a:rPr kumimoji="1" lang="zh-CN" altLang="en-US" dirty="0"/>
              <a:t> </a:t>
            </a:r>
            <a:r>
              <a:rPr kumimoji="1" lang="en-US" altLang="zh-CN" dirty="0"/>
              <a:t>Tardiness</a:t>
            </a:r>
            <a:r>
              <a:rPr kumimoji="1" lang="zh-CN" altLang="en-US" dirty="0"/>
              <a:t> </a:t>
            </a:r>
            <a:r>
              <a:rPr kumimoji="1" lang="en-US" altLang="zh-CN" dirty="0"/>
              <a:t>Outcome</a:t>
            </a:r>
            <a:endParaRPr kumimoji="1" lang="zh-CN" altLang="en-US" dirty="0"/>
          </a:p>
        </p:txBody>
      </p:sp>
      <p:graphicFrame>
        <p:nvGraphicFramePr>
          <p:cNvPr id="6" name="图表 5">
            <a:extLst>
              <a:ext uri="{FF2B5EF4-FFF2-40B4-BE49-F238E27FC236}">
                <a16:creationId xmlns:a16="http://schemas.microsoft.com/office/drawing/2014/main" id="{68D6647B-7659-814D-A0AA-0C4109C0EB8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90976897"/>
              </p:ext>
            </p:extLst>
          </p:nvPr>
        </p:nvGraphicFramePr>
        <p:xfrm>
          <a:off x="426171" y="1192020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7" name="图片 6">
            <a:extLst>
              <a:ext uri="{FF2B5EF4-FFF2-40B4-BE49-F238E27FC236}">
                <a16:creationId xmlns:a16="http://schemas.microsoft.com/office/drawing/2014/main" id="{3A14F20A-A1BC-5C40-B008-4733B34BFC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63815" y="1101533"/>
            <a:ext cx="2742149" cy="4948238"/>
          </a:xfrm>
          <a:prstGeom prst="rect">
            <a:avLst/>
          </a:prstGeom>
        </p:spPr>
      </p:pic>
      <p:sp>
        <p:nvSpPr>
          <p:cNvPr id="8" name="Rectangle 35">
            <a:extLst>
              <a:ext uri="{FF2B5EF4-FFF2-40B4-BE49-F238E27FC236}">
                <a16:creationId xmlns:a16="http://schemas.microsoft.com/office/drawing/2014/main" id="{DCFBBA1D-20A1-F540-8901-1AB7A8E94EE5}"/>
              </a:ext>
            </a:extLst>
          </p:cNvPr>
          <p:cNvSpPr/>
          <p:nvPr/>
        </p:nvSpPr>
        <p:spPr>
          <a:xfrm>
            <a:off x="324382" y="1101533"/>
            <a:ext cx="8362418" cy="5418667"/>
          </a:xfrm>
          <a:prstGeom prst="rect">
            <a:avLst/>
          </a:prstGeom>
          <a:noFill/>
          <a:ln w="12700"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dirty="0">
              <a:latin typeface="+mn-ea"/>
            </a:endParaRPr>
          </a:p>
        </p:txBody>
      </p:sp>
      <p:sp>
        <p:nvSpPr>
          <p:cNvPr id="10" name="TextBox 41">
            <a:extLst>
              <a:ext uri="{FF2B5EF4-FFF2-40B4-BE49-F238E27FC236}">
                <a16:creationId xmlns:a16="http://schemas.microsoft.com/office/drawing/2014/main" id="{60D1BE92-3840-5A43-9320-3B3836C4C579}"/>
              </a:ext>
            </a:extLst>
          </p:cNvPr>
          <p:cNvSpPr txBox="1"/>
          <p:nvPr/>
        </p:nvSpPr>
        <p:spPr>
          <a:xfrm>
            <a:off x="3854978" y="962111"/>
            <a:ext cx="1270385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marL="144000" indent="-144000">
              <a:buFont typeface="Arial" panose="020B0604020202020204" pitchFamily="34" charset="0"/>
              <a:buChar char="•"/>
              <a:defRPr sz="1400"/>
            </a:lvl1pPr>
          </a:lstStyle>
          <a:p>
            <a:pPr marL="0" indent="0" algn="ctr">
              <a:buNone/>
            </a:pPr>
            <a:r>
              <a:rPr lang="en-US" altLang="zh-CN" sz="1800" dirty="0">
                <a:latin typeface="+mn-ea"/>
                <a:ea typeface="+mn-ea"/>
              </a:rPr>
              <a:t>Outcome</a:t>
            </a:r>
            <a:endParaRPr lang="zh-CN" altLang="en-US" sz="18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1025092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24CF963-DAFA-9443-9433-EFD5E32E67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Complaints About</a:t>
            </a:r>
            <a:r>
              <a:rPr kumimoji="1" lang="zh-CN" altLang="en-US" dirty="0"/>
              <a:t> </a:t>
            </a:r>
            <a:r>
              <a:rPr kumimoji="1" lang="en-US" altLang="zh-CN" dirty="0"/>
              <a:t>Queueing</a:t>
            </a:r>
            <a:r>
              <a:rPr kumimoji="1" lang="zh-CN" altLang="en-US" dirty="0"/>
              <a:t> </a:t>
            </a:r>
            <a:r>
              <a:rPr kumimoji="1" lang="en-US" altLang="zh-CN" dirty="0"/>
              <a:t>Situation</a:t>
            </a:r>
            <a:endParaRPr kumimoji="1" lang="zh-CN" altLang="en-US" dirty="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E6B460FB-4196-DF4E-B328-511944AB7891}"/>
              </a:ext>
            </a:extLst>
          </p:cNvPr>
          <p:cNvSpPr txBox="1"/>
          <p:nvPr/>
        </p:nvSpPr>
        <p:spPr>
          <a:xfrm>
            <a:off x="4882782" y="7487149"/>
            <a:ext cx="47547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/>
              <a:t>放等候时长</a:t>
            </a:r>
            <a:r>
              <a:rPr kumimoji="1" lang="en-US" altLang="zh-CN" dirty="0"/>
              <a:t>data</a:t>
            </a:r>
            <a:r>
              <a:rPr kumimoji="1" lang="zh-CN" altLang="en-US" dirty="0"/>
              <a:t>（柱状图、折线图、加趋势）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F39FE4CF-A46E-D147-8672-2ADE550897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7409" y="1128962"/>
            <a:ext cx="5651500" cy="3048000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E01E4682-9DFA-BB47-BB4A-A2765AC2CCB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83092" y="1122385"/>
            <a:ext cx="5346700" cy="5626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78837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D30798B-E208-5A4C-AAA3-8E6644AD6A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Disney’s</a:t>
            </a:r>
            <a:r>
              <a:rPr kumimoji="1" lang="zh-CN" altLang="en-US" dirty="0"/>
              <a:t> </a:t>
            </a:r>
            <a:r>
              <a:rPr kumimoji="1" lang="en-US" altLang="zh-CN" dirty="0"/>
              <a:t>Queueing</a:t>
            </a:r>
            <a:r>
              <a:rPr kumimoji="1" lang="zh-CN" altLang="en-US" dirty="0"/>
              <a:t> </a:t>
            </a:r>
            <a:r>
              <a:rPr kumimoji="1" lang="en-US" altLang="zh-CN" dirty="0"/>
              <a:t>Situation</a:t>
            </a:r>
            <a:endParaRPr kumimoji="1" lang="zh-CN" altLang="en-US" dirty="0"/>
          </a:p>
        </p:txBody>
      </p:sp>
      <p:graphicFrame>
        <p:nvGraphicFramePr>
          <p:cNvPr id="3" name="图表 2">
            <a:extLst>
              <a:ext uri="{FF2B5EF4-FFF2-40B4-BE49-F238E27FC236}">
                <a16:creationId xmlns:a16="http://schemas.microsoft.com/office/drawing/2014/main" id="{2FA10EB2-8023-BD43-8686-E75664D770B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57420522"/>
              </p:ext>
            </p:extLst>
          </p:nvPr>
        </p:nvGraphicFramePr>
        <p:xfrm>
          <a:off x="311899" y="1905849"/>
          <a:ext cx="11590388" cy="47291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Rectangle 35">
            <a:extLst>
              <a:ext uri="{FF2B5EF4-FFF2-40B4-BE49-F238E27FC236}">
                <a16:creationId xmlns:a16="http://schemas.microsoft.com/office/drawing/2014/main" id="{4A3CB27D-8DC1-1A41-8886-D43E9E46FDAF}"/>
              </a:ext>
            </a:extLst>
          </p:cNvPr>
          <p:cNvSpPr/>
          <p:nvPr/>
        </p:nvSpPr>
        <p:spPr>
          <a:xfrm>
            <a:off x="211815" y="1670624"/>
            <a:ext cx="11790556" cy="4964365"/>
          </a:xfrm>
          <a:prstGeom prst="rect">
            <a:avLst/>
          </a:prstGeom>
          <a:noFill/>
          <a:ln w="12700"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dirty="0">
              <a:latin typeface="+mn-ea"/>
            </a:endParaRPr>
          </a:p>
        </p:txBody>
      </p:sp>
      <p:sp>
        <p:nvSpPr>
          <p:cNvPr id="8" name="TextBox 41">
            <a:extLst>
              <a:ext uri="{FF2B5EF4-FFF2-40B4-BE49-F238E27FC236}">
                <a16:creationId xmlns:a16="http://schemas.microsoft.com/office/drawing/2014/main" id="{AA0AA129-31C9-8042-809B-E8771E73A4B8}"/>
              </a:ext>
            </a:extLst>
          </p:cNvPr>
          <p:cNvSpPr txBox="1"/>
          <p:nvPr/>
        </p:nvSpPr>
        <p:spPr>
          <a:xfrm>
            <a:off x="3858828" y="1487913"/>
            <a:ext cx="3464614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marL="144000" indent="-144000">
              <a:buFont typeface="Arial" panose="020B0604020202020204" pitchFamily="34" charset="0"/>
              <a:buChar char="•"/>
              <a:defRPr sz="1400"/>
            </a:lvl1pPr>
          </a:lstStyle>
          <a:p>
            <a:pPr marL="0" indent="0" algn="ctr">
              <a:buNone/>
            </a:pPr>
            <a:r>
              <a:rPr lang="en-US" altLang="zh-CN" sz="1800" dirty="0">
                <a:latin typeface="+mn-ea"/>
              </a:rPr>
              <a:t>Queue Length of </a:t>
            </a:r>
            <a:r>
              <a:rPr lang="en-US" altLang="zh-CN" sz="1800" dirty="0">
                <a:latin typeface="+mn-ea"/>
                <a:ea typeface="+mn-ea"/>
              </a:rPr>
              <a:t>Selected 15 Rides</a:t>
            </a:r>
            <a:endParaRPr lang="zh-CN" altLang="en-US" sz="1800" dirty="0">
              <a:latin typeface="+mn-ea"/>
              <a:ea typeface="+mn-ea"/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6F955303-B278-2245-A9CD-BE149119720C}"/>
              </a:ext>
            </a:extLst>
          </p:cNvPr>
          <p:cNvSpPr/>
          <p:nvPr/>
        </p:nvSpPr>
        <p:spPr>
          <a:xfrm>
            <a:off x="211815" y="992678"/>
            <a:ext cx="116067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altLang="zh-CN" dirty="0">
                <a:latin typeface="+mn-ea"/>
              </a:rPr>
              <a:t>Most Disney’s must-rides has a queue with more than 2000 people everyday. </a:t>
            </a:r>
            <a:endParaRPr lang="zh-CN" altLang="en-US" dirty="0">
              <a:latin typeface="+mn-ea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714FE307-6E8D-ED45-8721-98E87DD019D5}"/>
              </a:ext>
            </a:extLst>
          </p:cNvPr>
          <p:cNvSpPr txBox="1"/>
          <p:nvPr/>
        </p:nvSpPr>
        <p:spPr>
          <a:xfrm>
            <a:off x="189629" y="1658015"/>
            <a:ext cx="61279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200" dirty="0">
                <a:solidFill>
                  <a:schemeClr val="accent6">
                    <a:lumMod val="50000"/>
                  </a:schemeClr>
                </a:solidFill>
              </a:rPr>
              <a:t>People</a:t>
            </a:r>
            <a:endParaRPr kumimoji="1" lang="zh-CN" altLang="en-US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grpSp>
        <p:nvGrpSpPr>
          <p:cNvPr id="10" name="组合 9">
            <a:extLst>
              <a:ext uri="{FF2B5EF4-FFF2-40B4-BE49-F238E27FC236}">
                <a16:creationId xmlns:a16="http://schemas.microsoft.com/office/drawing/2014/main" id="{A60FA960-1273-1942-A02A-0666B5A56559}"/>
              </a:ext>
            </a:extLst>
          </p:cNvPr>
          <p:cNvGrpSpPr/>
          <p:nvPr/>
        </p:nvGrpSpPr>
        <p:grpSpPr>
          <a:xfrm>
            <a:off x="2343228" y="1699012"/>
            <a:ext cx="1597323" cy="681888"/>
            <a:chOff x="3997934" y="-648216"/>
            <a:chExt cx="1597323" cy="681888"/>
          </a:xfrm>
        </p:grpSpPr>
        <p:sp>
          <p:nvSpPr>
            <p:cNvPr id="4" name="圆角矩形标注 3">
              <a:extLst>
                <a:ext uri="{FF2B5EF4-FFF2-40B4-BE49-F238E27FC236}">
                  <a16:creationId xmlns:a16="http://schemas.microsoft.com/office/drawing/2014/main" id="{89F8DBFD-A070-C04A-A8A8-178A9B4FC9C6}"/>
                </a:ext>
              </a:extLst>
            </p:cNvPr>
            <p:cNvSpPr/>
            <p:nvPr/>
          </p:nvSpPr>
          <p:spPr>
            <a:xfrm>
              <a:off x="3997934" y="-648216"/>
              <a:ext cx="1597323" cy="681888"/>
            </a:xfrm>
            <a:prstGeom prst="wedgeRoundRectCallout">
              <a:avLst>
                <a:gd name="adj1" fmla="val -64449"/>
                <a:gd name="adj2" fmla="val 33765"/>
                <a:gd name="adj3" fmla="val 16667"/>
              </a:avLst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 dirty="0"/>
            </a:p>
          </p:txBody>
        </p:sp>
        <p:sp>
          <p:nvSpPr>
            <p:cNvPr id="6" name="文本框 5">
              <a:extLst>
                <a:ext uri="{FF2B5EF4-FFF2-40B4-BE49-F238E27FC236}">
                  <a16:creationId xmlns:a16="http://schemas.microsoft.com/office/drawing/2014/main" id="{5ED77E9C-2AA2-3F4D-8653-A6D11E800D77}"/>
                </a:ext>
              </a:extLst>
            </p:cNvPr>
            <p:cNvSpPr txBox="1"/>
            <p:nvPr/>
          </p:nvSpPr>
          <p:spPr>
            <a:xfrm>
              <a:off x="4277863" y="-496024"/>
              <a:ext cx="103746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zh-CN" dirty="0"/>
                <a:t>150</a:t>
              </a:r>
              <a:r>
                <a:rPr kumimoji="1" lang="zh-CN" altLang="en-US" dirty="0"/>
                <a:t> </a:t>
              </a:r>
              <a:r>
                <a:rPr kumimoji="1" lang="en-US" altLang="zh-CN" dirty="0"/>
                <a:t>mins</a:t>
              </a:r>
              <a:endParaRPr kumimoji="1" lang="zh-CN" alt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9828818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24CF963-DAFA-9443-9433-EFD5E32E67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Disney</a:t>
            </a:r>
            <a:r>
              <a:rPr kumimoji="1" lang="zh-CN" altLang="en-US" dirty="0"/>
              <a:t> </a:t>
            </a:r>
            <a:r>
              <a:rPr kumimoji="1" lang="en-US" altLang="zh-CN" dirty="0"/>
              <a:t>Queueing</a:t>
            </a:r>
            <a:r>
              <a:rPr kumimoji="1" lang="zh-CN" altLang="en-US" dirty="0"/>
              <a:t> </a:t>
            </a:r>
            <a:r>
              <a:rPr kumimoji="1" lang="en-US" altLang="zh-CN" dirty="0"/>
              <a:t>Situation</a:t>
            </a:r>
            <a:endParaRPr kumimoji="1" lang="zh-CN" altLang="en-US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C533AD09-5EA8-5D43-AD4A-73C37E6B2724}"/>
              </a:ext>
            </a:extLst>
          </p:cNvPr>
          <p:cNvSpPr/>
          <p:nvPr/>
        </p:nvSpPr>
        <p:spPr>
          <a:xfrm>
            <a:off x="281520" y="1019247"/>
            <a:ext cx="116067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" altLang="zh-CN" dirty="0">
                <a:latin typeface="+mn-ea"/>
              </a:rPr>
              <a:t>Visitors to Disneyland are experiencing more sore feet and sunburn while waiting to ride some of the parks’ increasingly popular attractions</a:t>
            </a:r>
            <a:endParaRPr lang="zh-CN" altLang="en-US" dirty="0">
              <a:latin typeface="+mn-ea"/>
            </a:endParaRPr>
          </a:p>
        </p:txBody>
      </p:sp>
      <p:graphicFrame>
        <p:nvGraphicFramePr>
          <p:cNvPr id="10" name="图表 9">
            <a:extLst>
              <a:ext uri="{FF2B5EF4-FFF2-40B4-BE49-F238E27FC236}">
                <a16:creationId xmlns:a16="http://schemas.microsoft.com/office/drawing/2014/main" id="{68A25070-C56D-5346-B4D7-4C26E33F48D8}"/>
              </a:ext>
            </a:extLst>
          </p:cNvPr>
          <p:cNvGraphicFramePr/>
          <p:nvPr>
            <p:extLst/>
          </p:nvPr>
        </p:nvGraphicFramePr>
        <p:xfrm>
          <a:off x="2600630" y="1674048"/>
          <a:ext cx="2107325" cy="1636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图表 10">
            <a:extLst>
              <a:ext uri="{FF2B5EF4-FFF2-40B4-BE49-F238E27FC236}">
                <a16:creationId xmlns:a16="http://schemas.microsoft.com/office/drawing/2014/main" id="{0115E972-0F39-7B45-837C-7AFD7013F955}"/>
              </a:ext>
            </a:extLst>
          </p:cNvPr>
          <p:cNvGraphicFramePr/>
          <p:nvPr>
            <p:extLst/>
          </p:nvPr>
        </p:nvGraphicFramePr>
        <p:xfrm>
          <a:off x="4864859" y="1674048"/>
          <a:ext cx="2107325" cy="1636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" name="图表 11">
            <a:extLst>
              <a:ext uri="{FF2B5EF4-FFF2-40B4-BE49-F238E27FC236}">
                <a16:creationId xmlns:a16="http://schemas.microsoft.com/office/drawing/2014/main" id="{30676C84-BE7D-DE45-BE04-CD0860688B3E}"/>
              </a:ext>
            </a:extLst>
          </p:cNvPr>
          <p:cNvGraphicFramePr/>
          <p:nvPr>
            <p:extLst/>
          </p:nvPr>
        </p:nvGraphicFramePr>
        <p:xfrm>
          <a:off x="7129088" y="1674048"/>
          <a:ext cx="2107325" cy="1636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3" name="图表 12">
            <a:extLst>
              <a:ext uri="{FF2B5EF4-FFF2-40B4-BE49-F238E27FC236}">
                <a16:creationId xmlns:a16="http://schemas.microsoft.com/office/drawing/2014/main" id="{3BAC919E-EBFD-8E48-9F43-99993217E58B}"/>
              </a:ext>
            </a:extLst>
          </p:cNvPr>
          <p:cNvGraphicFramePr/>
          <p:nvPr>
            <p:extLst/>
          </p:nvPr>
        </p:nvGraphicFramePr>
        <p:xfrm>
          <a:off x="336401" y="1674048"/>
          <a:ext cx="2107325" cy="1636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6" name="图表 25">
            <a:extLst>
              <a:ext uri="{FF2B5EF4-FFF2-40B4-BE49-F238E27FC236}">
                <a16:creationId xmlns:a16="http://schemas.microsoft.com/office/drawing/2014/main" id="{53B9EE98-D0DB-6841-A9CE-2011A0F7D5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27460755"/>
              </p:ext>
            </p:extLst>
          </p:nvPr>
        </p:nvGraphicFramePr>
        <p:xfrm>
          <a:off x="9258405" y="1711263"/>
          <a:ext cx="2107325" cy="1636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42" name="图表 41">
            <a:extLst>
              <a:ext uri="{FF2B5EF4-FFF2-40B4-BE49-F238E27FC236}">
                <a16:creationId xmlns:a16="http://schemas.microsoft.com/office/drawing/2014/main" id="{A15DF72F-BE2F-3448-80A2-CE7F2D30B6E5}"/>
              </a:ext>
            </a:extLst>
          </p:cNvPr>
          <p:cNvGraphicFramePr/>
          <p:nvPr>
            <p:extLst/>
          </p:nvPr>
        </p:nvGraphicFramePr>
        <p:xfrm>
          <a:off x="2545749" y="3319230"/>
          <a:ext cx="2107325" cy="1636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43" name="图表 42">
            <a:extLst>
              <a:ext uri="{FF2B5EF4-FFF2-40B4-BE49-F238E27FC236}">
                <a16:creationId xmlns:a16="http://schemas.microsoft.com/office/drawing/2014/main" id="{8A8AD9BA-15E6-D745-A706-B89032FCE28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74723551"/>
              </p:ext>
            </p:extLst>
          </p:nvPr>
        </p:nvGraphicFramePr>
        <p:xfrm>
          <a:off x="4675066" y="3364200"/>
          <a:ext cx="2107325" cy="1636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44" name="图表 43">
            <a:extLst>
              <a:ext uri="{FF2B5EF4-FFF2-40B4-BE49-F238E27FC236}">
                <a16:creationId xmlns:a16="http://schemas.microsoft.com/office/drawing/2014/main" id="{0E602F32-C676-E34A-AD7D-5F77D75B265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21338379"/>
              </p:ext>
            </p:extLst>
          </p:nvPr>
        </p:nvGraphicFramePr>
        <p:xfrm>
          <a:off x="6939295" y="3364200"/>
          <a:ext cx="2107325" cy="1636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45" name="图表 44">
            <a:extLst>
              <a:ext uri="{FF2B5EF4-FFF2-40B4-BE49-F238E27FC236}">
                <a16:creationId xmlns:a16="http://schemas.microsoft.com/office/drawing/2014/main" id="{4DDBAE30-4602-5442-B2A9-27F79FA58105}"/>
              </a:ext>
            </a:extLst>
          </p:cNvPr>
          <p:cNvGraphicFramePr/>
          <p:nvPr>
            <p:extLst/>
          </p:nvPr>
        </p:nvGraphicFramePr>
        <p:xfrm>
          <a:off x="281520" y="3319230"/>
          <a:ext cx="2107325" cy="1636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46" name="图表 45">
            <a:extLst>
              <a:ext uri="{FF2B5EF4-FFF2-40B4-BE49-F238E27FC236}">
                <a16:creationId xmlns:a16="http://schemas.microsoft.com/office/drawing/2014/main" id="{A7BC471A-713E-C04B-8F24-82ECBF4DBCB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55244485"/>
              </p:ext>
            </p:extLst>
          </p:nvPr>
        </p:nvGraphicFramePr>
        <p:xfrm>
          <a:off x="9203524" y="3356445"/>
          <a:ext cx="2107325" cy="1636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47" name="图表 46">
            <a:extLst>
              <a:ext uri="{FF2B5EF4-FFF2-40B4-BE49-F238E27FC236}">
                <a16:creationId xmlns:a16="http://schemas.microsoft.com/office/drawing/2014/main" id="{27BFDE46-7EC3-3F43-958E-533204916AA1}"/>
              </a:ext>
            </a:extLst>
          </p:cNvPr>
          <p:cNvGraphicFramePr/>
          <p:nvPr>
            <p:extLst/>
          </p:nvPr>
        </p:nvGraphicFramePr>
        <p:xfrm>
          <a:off x="2545749" y="5116513"/>
          <a:ext cx="2107325" cy="1636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aphicFrame>
        <p:nvGraphicFramePr>
          <p:cNvPr id="48" name="图表 47">
            <a:extLst>
              <a:ext uri="{FF2B5EF4-FFF2-40B4-BE49-F238E27FC236}">
                <a16:creationId xmlns:a16="http://schemas.microsoft.com/office/drawing/2014/main" id="{68501F2F-3723-1C47-A3E0-D6B5581040E7}"/>
              </a:ext>
            </a:extLst>
          </p:cNvPr>
          <p:cNvGraphicFramePr/>
          <p:nvPr>
            <p:extLst/>
          </p:nvPr>
        </p:nvGraphicFramePr>
        <p:xfrm>
          <a:off x="4809978" y="5116513"/>
          <a:ext cx="2107325" cy="1636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49" name="图表 48">
            <a:extLst>
              <a:ext uri="{FF2B5EF4-FFF2-40B4-BE49-F238E27FC236}">
                <a16:creationId xmlns:a16="http://schemas.microsoft.com/office/drawing/2014/main" id="{3139676E-1CD1-FA48-A10D-0937F560F7EE}"/>
              </a:ext>
            </a:extLst>
          </p:cNvPr>
          <p:cNvGraphicFramePr/>
          <p:nvPr>
            <p:extLst/>
          </p:nvPr>
        </p:nvGraphicFramePr>
        <p:xfrm>
          <a:off x="7074207" y="5116513"/>
          <a:ext cx="2107325" cy="1636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graphicFrame>
        <p:nvGraphicFramePr>
          <p:cNvPr id="50" name="图表 49">
            <a:extLst>
              <a:ext uri="{FF2B5EF4-FFF2-40B4-BE49-F238E27FC236}">
                <a16:creationId xmlns:a16="http://schemas.microsoft.com/office/drawing/2014/main" id="{70BB92E3-9DEB-1147-8DB4-B536DCAF9599}"/>
              </a:ext>
            </a:extLst>
          </p:cNvPr>
          <p:cNvGraphicFramePr/>
          <p:nvPr>
            <p:extLst/>
          </p:nvPr>
        </p:nvGraphicFramePr>
        <p:xfrm>
          <a:off x="281520" y="5116513"/>
          <a:ext cx="2107325" cy="1636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graphicFrame>
        <p:nvGraphicFramePr>
          <p:cNvPr id="51" name="图表 50">
            <a:extLst>
              <a:ext uri="{FF2B5EF4-FFF2-40B4-BE49-F238E27FC236}">
                <a16:creationId xmlns:a16="http://schemas.microsoft.com/office/drawing/2014/main" id="{EDB27192-4E6F-9E4D-9F9E-A455A9D5ED36}"/>
              </a:ext>
            </a:extLst>
          </p:cNvPr>
          <p:cNvGraphicFramePr/>
          <p:nvPr>
            <p:extLst/>
          </p:nvPr>
        </p:nvGraphicFramePr>
        <p:xfrm>
          <a:off x="9338436" y="5108758"/>
          <a:ext cx="2107325" cy="1636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3" name="同心圆 2">
            <a:extLst>
              <a:ext uri="{FF2B5EF4-FFF2-40B4-BE49-F238E27FC236}">
                <a16:creationId xmlns:a16="http://schemas.microsoft.com/office/drawing/2014/main" id="{FF876A66-DCE6-894C-9F02-4B79CD86DC75}"/>
              </a:ext>
            </a:extLst>
          </p:cNvPr>
          <p:cNvSpPr/>
          <p:nvPr/>
        </p:nvSpPr>
        <p:spPr>
          <a:xfrm>
            <a:off x="8962734" y="1417692"/>
            <a:ext cx="2698666" cy="2071753"/>
          </a:xfrm>
          <a:prstGeom prst="donut">
            <a:avLst>
              <a:gd name="adj" fmla="val 1726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39645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85">
            <a:extLst>
              <a:ext uri="{FF2B5EF4-FFF2-40B4-BE49-F238E27FC236}">
                <a16:creationId xmlns:a16="http://schemas.microsoft.com/office/drawing/2014/main" id="{2A832BC4-E6C7-F047-9D3B-3352A0BFC45F}"/>
              </a:ext>
            </a:extLst>
          </p:cNvPr>
          <p:cNvGrpSpPr/>
          <p:nvPr/>
        </p:nvGrpSpPr>
        <p:grpSpPr>
          <a:xfrm>
            <a:off x="134986" y="-1438940"/>
            <a:ext cx="1642333" cy="4991786"/>
            <a:chOff x="1035105" y="-1589163"/>
            <a:chExt cx="1642333" cy="4991786"/>
          </a:xfrm>
        </p:grpSpPr>
        <p:sp>
          <p:nvSpPr>
            <p:cNvPr id="18" name="Oval 5">
              <a:extLst>
                <a:ext uri="{FF2B5EF4-FFF2-40B4-BE49-F238E27FC236}">
                  <a16:creationId xmlns:a16="http://schemas.microsoft.com/office/drawing/2014/main" id="{6A81BDB7-43FA-F14D-AC86-21692587E4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5105" y="1761380"/>
              <a:ext cx="1642333" cy="1641243"/>
            </a:xfrm>
            <a:prstGeom prst="ellipse">
              <a:avLst/>
            </a:prstGeom>
            <a:solidFill>
              <a:srgbClr val="FFFFFF"/>
            </a:solidFill>
            <a:ln w="61913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0762027E-D5F0-9545-B01A-D40B6EADE4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8120" y="1654722"/>
              <a:ext cx="338480" cy="199170"/>
            </a:xfrm>
            <a:custGeom>
              <a:avLst/>
              <a:gdLst>
                <a:gd name="T0" fmla="*/ 9 w 190"/>
                <a:gd name="T1" fmla="*/ 0 h 112"/>
                <a:gd name="T2" fmla="*/ 180 w 190"/>
                <a:gd name="T3" fmla="*/ 0 h 112"/>
                <a:gd name="T4" fmla="*/ 190 w 190"/>
                <a:gd name="T5" fmla="*/ 10 h 112"/>
                <a:gd name="T6" fmla="*/ 190 w 190"/>
                <a:gd name="T7" fmla="*/ 103 h 112"/>
                <a:gd name="T8" fmla="*/ 180 w 190"/>
                <a:gd name="T9" fmla="*/ 112 h 112"/>
                <a:gd name="T10" fmla="*/ 156 w 190"/>
                <a:gd name="T11" fmla="*/ 112 h 112"/>
                <a:gd name="T12" fmla="*/ 140 w 190"/>
                <a:gd name="T13" fmla="*/ 95 h 112"/>
                <a:gd name="T14" fmla="*/ 123 w 190"/>
                <a:gd name="T15" fmla="*/ 112 h 112"/>
                <a:gd name="T16" fmla="*/ 66 w 190"/>
                <a:gd name="T17" fmla="*/ 112 h 112"/>
                <a:gd name="T18" fmla="*/ 50 w 190"/>
                <a:gd name="T19" fmla="*/ 95 h 112"/>
                <a:gd name="T20" fmla="*/ 33 w 190"/>
                <a:gd name="T21" fmla="*/ 112 h 112"/>
                <a:gd name="T22" fmla="*/ 9 w 190"/>
                <a:gd name="T23" fmla="*/ 112 h 112"/>
                <a:gd name="T24" fmla="*/ 0 w 190"/>
                <a:gd name="T25" fmla="*/ 103 h 112"/>
                <a:gd name="T26" fmla="*/ 0 w 190"/>
                <a:gd name="T27" fmla="*/ 10 h 112"/>
                <a:gd name="T28" fmla="*/ 9 w 190"/>
                <a:gd name="T29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0" h="112">
                  <a:moveTo>
                    <a:pt x="9" y="0"/>
                  </a:moveTo>
                  <a:cubicBezTo>
                    <a:pt x="66" y="0"/>
                    <a:pt x="123" y="0"/>
                    <a:pt x="180" y="0"/>
                  </a:cubicBezTo>
                  <a:cubicBezTo>
                    <a:pt x="186" y="0"/>
                    <a:pt x="190" y="4"/>
                    <a:pt x="190" y="10"/>
                  </a:cubicBezTo>
                  <a:cubicBezTo>
                    <a:pt x="190" y="41"/>
                    <a:pt x="190" y="72"/>
                    <a:pt x="190" y="103"/>
                  </a:cubicBezTo>
                  <a:cubicBezTo>
                    <a:pt x="190" y="108"/>
                    <a:pt x="186" y="112"/>
                    <a:pt x="180" y="112"/>
                  </a:cubicBezTo>
                  <a:cubicBezTo>
                    <a:pt x="172" y="112"/>
                    <a:pt x="164" y="112"/>
                    <a:pt x="156" y="112"/>
                  </a:cubicBezTo>
                  <a:cubicBezTo>
                    <a:pt x="156" y="103"/>
                    <a:pt x="149" y="95"/>
                    <a:pt x="140" y="95"/>
                  </a:cubicBezTo>
                  <a:cubicBezTo>
                    <a:pt x="131" y="95"/>
                    <a:pt x="123" y="103"/>
                    <a:pt x="123" y="112"/>
                  </a:cubicBezTo>
                  <a:cubicBezTo>
                    <a:pt x="104" y="112"/>
                    <a:pt x="85" y="112"/>
                    <a:pt x="66" y="112"/>
                  </a:cubicBezTo>
                  <a:cubicBezTo>
                    <a:pt x="66" y="103"/>
                    <a:pt x="59" y="95"/>
                    <a:pt x="50" y="95"/>
                  </a:cubicBezTo>
                  <a:cubicBezTo>
                    <a:pt x="41" y="95"/>
                    <a:pt x="33" y="103"/>
                    <a:pt x="33" y="112"/>
                  </a:cubicBezTo>
                  <a:cubicBezTo>
                    <a:pt x="25" y="112"/>
                    <a:pt x="17" y="112"/>
                    <a:pt x="9" y="112"/>
                  </a:cubicBezTo>
                  <a:cubicBezTo>
                    <a:pt x="4" y="112"/>
                    <a:pt x="0" y="108"/>
                    <a:pt x="0" y="103"/>
                  </a:cubicBezTo>
                  <a:cubicBezTo>
                    <a:pt x="0" y="72"/>
                    <a:pt x="0" y="41"/>
                    <a:pt x="0" y="10"/>
                  </a:cubicBezTo>
                  <a:cubicBezTo>
                    <a:pt x="0" y="4"/>
                    <a:pt x="4" y="0"/>
                    <a:pt x="9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4A27610B-C646-2041-9C55-3262EC27F3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01438" y="1654721"/>
              <a:ext cx="47888" cy="176314"/>
            </a:xfrm>
            <a:custGeom>
              <a:avLst/>
              <a:gdLst>
                <a:gd name="T0" fmla="*/ 0 w 27"/>
                <a:gd name="T1" fmla="*/ 0 h 99"/>
                <a:gd name="T2" fmla="*/ 9 w 27"/>
                <a:gd name="T3" fmla="*/ 99 h 99"/>
                <a:gd name="T4" fmla="*/ 20 w 27"/>
                <a:gd name="T5" fmla="*/ 95 h 99"/>
                <a:gd name="T6" fmla="*/ 27 w 27"/>
                <a:gd name="T7" fmla="*/ 97 h 99"/>
                <a:gd name="T8" fmla="*/ 18 w 27"/>
                <a:gd name="T9" fmla="*/ 0 h 99"/>
                <a:gd name="T10" fmla="*/ 0 w 27"/>
                <a:gd name="T11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99">
                  <a:moveTo>
                    <a:pt x="0" y="0"/>
                  </a:moveTo>
                  <a:cubicBezTo>
                    <a:pt x="4" y="39"/>
                    <a:pt x="8" y="87"/>
                    <a:pt x="9" y="99"/>
                  </a:cubicBezTo>
                  <a:cubicBezTo>
                    <a:pt x="12" y="97"/>
                    <a:pt x="16" y="95"/>
                    <a:pt x="20" y="95"/>
                  </a:cubicBezTo>
                  <a:cubicBezTo>
                    <a:pt x="22" y="95"/>
                    <a:pt x="25" y="96"/>
                    <a:pt x="27" y="97"/>
                  </a:cubicBezTo>
                  <a:cubicBezTo>
                    <a:pt x="24" y="72"/>
                    <a:pt x="21" y="30"/>
                    <a:pt x="18" y="0"/>
                  </a:cubicBezTo>
                  <a:cubicBezTo>
                    <a:pt x="12" y="0"/>
                    <a:pt x="6" y="0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76017EC9-93CE-9742-BDE3-763BF39CBE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6482" y="1654721"/>
              <a:ext cx="46800" cy="177403"/>
            </a:xfrm>
            <a:custGeom>
              <a:avLst/>
              <a:gdLst>
                <a:gd name="T0" fmla="*/ 8 w 26"/>
                <a:gd name="T1" fmla="*/ 0 h 100"/>
                <a:gd name="T2" fmla="*/ 0 w 26"/>
                <a:gd name="T3" fmla="*/ 97 h 100"/>
                <a:gd name="T4" fmla="*/ 6 w 26"/>
                <a:gd name="T5" fmla="*/ 95 h 100"/>
                <a:gd name="T6" fmla="*/ 17 w 26"/>
                <a:gd name="T7" fmla="*/ 100 h 100"/>
                <a:gd name="T8" fmla="*/ 26 w 26"/>
                <a:gd name="T9" fmla="*/ 0 h 100"/>
                <a:gd name="T10" fmla="*/ 8 w 26"/>
                <a:gd name="T11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100">
                  <a:moveTo>
                    <a:pt x="8" y="0"/>
                  </a:moveTo>
                  <a:cubicBezTo>
                    <a:pt x="5" y="35"/>
                    <a:pt x="2" y="79"/>
                    <a:pt x="0" y="97"/>
                  </a:cubicBezTo>
                  <a:cubicBezTo>
                    <a:pt x="2" y="96"/>
                    <a:pt x="4" y="95"/>
                    <a:pt x="6" y="95"/>
                  </a:cubicBezTo>
                  <a:cubicBezTo>
                    <a:pt x="10" y="95"/>
                    <a:pt x="14" y="97"/>
                    <a:pt x="17" y="100"/>
                  </a:cubicBezTo>
                  <a:cubicBezTo>
                    <a:pt x="20" y="74"/>
                    <a:pt x="23" y="30"/>
                    <a:pt x="26" y="0"/>
                  </a:cubicBezTo>
                  <a:cubicBezTo>
                    <a:pt x="20" y="0"/>
                    <a:pt x="14" y="0"/>
                    <a:pt x="8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F5B210E8-538D-5A4D-97E2-DEA8880F16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3217" y="1430519"/>
              <a:ext cx="93599" cy="412488"/>
            </a:xfrm>
            <a:custGeom>
              <a:avLst/>
              <a:gdLst>
                <a:gd name="T0" fmla="*/ 18 w 53"/>
                <a:gd name="T1" fmla="*/ 11 h 232"/>
                <a:gd name="T2" fmla="*/ 0 w 53"/>
                <a:gd name="T3" fmla="*/ 38 h 232"/>
                <a:gd name="T4" fmla="*/ 15 w 53"/>
                <a:gd name="T5" fmla="*/ 60 h 232"/>
                <a:gd name="T6" fmla="*/ 21 w 53"/>
                <a:gd name="T7" fmla="*/ 63 h 232"/>
                <a:gd name="T8" fmla="*/ 5 w 53"/>
                <a:gd name="T9" fmla="*/ 227 h 232"/>
                <a:gd name="T10" fmla="*/ 10 w 53"/>
                <a:gd name="T11" fmla="*/ 232 h 232"/>
                <a:gd name="T12" fmla="*/ 15 w 53"/>
                <a:gd name="T13" fmla="*/ 228 h 232"/>
                <a:gd name="T14" fmla="*/ 31 w 53"/>
                <a:gd name="T15" fmla="*/ 65 h 232"/>
                <a:gd name="T16" fmla="*/ 21 w 53"/>
                <a:gd name="T17" fmla="*/ 52 h 232"/>
                <a:gd name="T18" fmla="*/ 10 w 53"/>
                <a:gd name="T19" fmla="*/ 38 h 232"/>
                <a:gd name="T20" fmla="*/ 24 w 53"/>
                <a:gd name="T21" fmla="*/ 19 h 232"/>
                <a:gd name="T22" fmla="*/ 53 w 53"/>
                <a:gd name="T23" fmla="*/ 10 h 232"/>
                <a:gd name="T24" fmla="*/ 53 w 53"/>
                <a:gd name="T25" fmla="*/ 0 h 232"/>
                <a:gd name="T26" fmla="*/ 18 w 53"/>
                <a:gd name="T27" fmla="*/ 1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3" h="232">
                  <a:moveTo>
                    <a:pt x="18" y="11"/>
                  </a:moveTo>
                  <a:cubicBezTo>
                    <a:pt x="8" y="19"/>
                    <a:pt x="0" y="28"/>
                    <a:pt x="0" y="38"/>
                  </a:cubicBezTo>
                  <a:cubicBezTo>
                    <a:pt x="0" y="49"/>
                    <a:pt x="9" y="55"/>
                    <a:pt x="15" y="60"/>
                  </a:cubicBezTo>
                  <a:cubicBezTo>
                    <a:pt x="18" y="62"/>
                    <a:pt x="21" y="63"/>
                    <a:pt x="21" y="63"/>
                  </a:cubicBezTo>
                  <a:cubicBezTo>
                    <a:pt x="20" y="70"/>
                    <a:pt x="5" y="226"/>
                    <a:pt x="5" y="227"/>
                  </a:cubicBezTo>
                  <a:cubicBezTo>
                    <a:pt x="5" y="230"/>
                    <a:pt x="7" y="232"/>
                    <a:pt x="10" y="232"/>
                  </a:cubicBezTo>
                  <a:cubicBezTo>
                    <a:pt x="12" y="232"/>
                    <a:pt x="15" y="230"/>
                    <a:pt x="15" y="228"/>
                  </a:cubicBezTo>
                  <a:cubicBezTo>
                    <a:pt x="15" y="227"/>
                    <a:pt x="29" y="72"/>
                    <a:pt x="31" y="65"/>
                  </a:cubicBezTo>
                  <a:cubicBezTo>
                    <a:pt x="31" y="59"/>
                    <a:pt x="27" y="56"/>
                    <a:pt x="21" y="52"/>
                  </a:cubicBezTo>
                  <a:cubicBezTo>
                    <a:pt x="16" y="48"/>
                    <a:pt x="10" y="44"/>
                    <a:pt x="10" y="38"/>
                  </a:cubicBezTo>
                  <a:cubicBezTo>
                    <a:pt x="10" y="32"/>
                    <a:pt x="16" y="25"/>
                    <a:pt x="24" y="19"/>
                  </a:cubicBezTo>
                  <a:cubicBezTo>
                    <a:pt x="32" y="14"/>
                    <a:pt x="43" y="10"/>
                    <a:pt x="53" y="1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41" y="0"/>
                    <a:pt x="28" y="5"/>
                    <a:pt x="18" y="11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E38EFDEC-E219-3B45-80A2-55DB0A8756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6816" y="1430519"/>
              <a:ext cx="94687" cy="412488"/>
            </a:xfrm>
            <a:custGeom>
              <a:avLst/>
              <a:gdLst>
                <a:gd name="T0" fmla="*/ 38 w 53"/>
                <a:gd name="T1" fmla="*/ 60 h 232"/>
                <a:gd name="T2" fmla="*/ 53 w 53"/>
                <a:gd name="T3" fmla="*/ 38 h 232"/>
                <a:gd name="T4" fmla="*/ 36 w 53"/>
                <a:gd name="T5" fmla="*/ 11 h 232"/>
                <a:gd name="T6" fmla="*/ 0 w 53"/>
                <a:gd name="T7" fmla="*/ 0 h 232"/>
                <a:gd name="T8" fmla="*/ 0 w 53"/>
                <a:gd name="T9" fmla="*/ 10 h 232"/>
                <a:gd name="T10" fmla="*/ 30 w 53"/>
                <a:gd name="T11" fmla="*/ 19 h 232"/>
                <a:gd name="T12" fmla="*/ 44 w 53"/>
                <a:gd name="T13" fmla="*/ 38 h 232"/>
                <a:gd name="T14" fmla="*/ 33 w 53"/>
                <a:gd name="T15" fmla="*/ 52 h 232"/>
                <a:gd name="T16" fmla="*/ 23 w 53"/>
                <a:gd name="T17" fmla="*/ 65 h 232"/>
                <a:gd name="T18" fmla="*/ 39 w 53"/>
                <a:gd name="T19" fmla="*/ 228 h 232"/>
                <a:gd name="T20" fmla="*/ 44 w 53"/>
                <a:gd name="T21" fmla="*/ 232 h 232"/>
                <a:gd name="T22" fmla="*/ 48 w 53"/>
                <a:gd name="T23" fmla="*/ 227 h 232"/>
                <a:gd name="T24" fmla="*/ 33 w 53"/>
                <a:gd name="T25" fmla="*/ 63 h 232"/>
                <a:gd name="T26" fmla="*/ 38 w 53"/>
                <a:gd name="T27" fmla="*/ 6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3" h="232">
                  <a:moveTo>
                    <a:pt x="38" y="60"/>
                  </a:moveTo>
                  <a:cubicBezTo>
                    <a:pt x="45" y="55"/>
                    <a:pt x="53" y="49"/>
                    <a:pt x="53" y="38"/>
                  </a:cubicBezTo>
                  <a:cubicBezTo>
                    <a:pt x="53" y="28"/>
                    <a:pt x="46" y="19"/>
                    <a:pt x="36" y="11"/>
                  </a:cubicBezTo>
                  <a:cubicBezTo>
                    <a:pt x="26" y="5"/>
                    <a:pt x="13" y="0"/>
                    <a:pt x="0" y="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1" y="10"/>
                    <a:pt x="22" y="14"/>
                    <a:pt x="30" y="19"/>
                  </a:cubicBezTo>
                  <a:cubicBezTo>
                    <a:pt x="38" y="25"/>
                    <a:pt x="44" y="32"/>
                    <a:pt x="44" y="38"/>
                  </a:cubicBezTo>
                  <a:cubicBezTo>
                    <a:pt x="44" y="44"/>
                    <a:pt x="38" y="48"/>
                    <a:pt x="33" y="52"/>
                  </a:cubicBezTo>
                  <a:cubicBezTo>
                    <a:pt x="27" y="56"/>
                    <a:pt x="22" y="59"/>
                    <a:pt x="23" y="65"/>
                  </a:cubicBezTo>
                  <a:cubicBezTo>
                    <a:pt x="24" y="72"/>
                    <a:pt x="39" y="227"/>
                    <a:pt x="39" y="228"/>
                  </a:cubicBezTo>
                  <a:cubicBezTo>
                    <a:pt x="39" y="230"/>
                    <a:pt x="41" y="232"/>
                    <a:pt x="44" y="232"/>
                  </a:cubicBezTo>
                  <a:cubicBezTo>
                    <a:pt x="47" y="232"/>
                    <a:pt x="49" y="230"/>
                    <a:pt x="48" y="227"/>
                  </a:cubicBezTo>
                  <a:cubicBezTo>
                    <a:pt x="48" y="226"/>
                    <a:pt x="34" y="70"/>
                    <a:pt x="33" y="63"/>
                  </a:cubicBezTo>
                  <a:cubicBezTo>
                    <a:pt x="33" y="63"/>
                    <a:pt x="35" y="62"/>
                    <a:pt x="38" y="6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4" name="Group 92">
              <a:extLst>
                <a:ext uri="{FF2B5EF4-FFF2-40B4-BE49-F238E27FC236}">
                  <a16:creationId xmlns:a16="http://schemas.microsoft.com/office/drawing/2014/main" id="{F4841BFB-C8CC-0B4D-9C1C-48F31A9F238E}"/>
                </a:ext>
              </a:extLst>
            </p:cNvPr>
            <p:cNvGrpSpPr/>
            <p:nvPr/>
          </p:nvGrpSpPr>
          <p:grpSpPr>
            <a:xfrm>
              <a:off x="1841579" y="-1589163"/>
              <a:ext cx="28297" cy="3067570"/>
              <a:chOff x="1841579" y="-1589163"/>
              <a:chExt cx="28297" cy="3067570"/>
            </a:xfrm>
          </p:grpSpPr>
          <p:sp>
            <p:nvSpPr>
              <p:cNvPr id="27" name="Freeform 11">
                <a:extLst>
                  <a:ext uri="{FF2B5EF4-FFF2-40B4-BE49-F238E27FC236}">
                    <a16:creationId xmlns:a16="http://schemas.microsoft.com/office/drawing/2014/main" id="{B478F63E-B623-5E43-A68F-C0420FDECD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41579" y="149522"/>
                <a:ext cx="28297" cy="1328885"/>
              </a:xfrm>
              <a:custGeom>
                <a:avLst/>
                <a:gdLst>
                  <a:gd name="T0" fmla="*/ 16 w 16"/>
                  <a:gd name="T1" fmla="*/ 0 h 747"/>
                  <a:gd name="T2" fmla="*/ 16 w 16"/>
                  <a:gd name="T3" fmla="*/ 734 h 747"/>
                  <a:gd name="T4" fmla="*/ 0 w 16"/>
                  <a:gd name="T5" fmla="*/ 735 h 747"/>
                  <a:gd name="T6" fmla="*/ 0 w 16"/>
                  <a:gd name="T7" fmla="*/ 0 h 747"/>
                  <a:gd name="T8" fmla="*/ 16 w 16"/>
                  <a:gd name="T9" fmla="*/ 0 h 7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747">
                    <a:moveTo>
                      <a:pt x="16" y="0"/>
                    </a:moveTo>
                    <a:cubicBezTo>
                      <a:pt x="16" y="734"/>
                      <a:pt x="16" y="734"/>
                      <a:pt x="16" y="734"/>
                    </a:cubicBezTo>
                    <a:cubicBezTo>
                      <a:pt x="15" y="747"/>
                      <a:pt x="0" y="746"/>
                      <a:pt x="0" y="735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6" y="0"/>
                    </a:lnTo>
                    <a:close/>
                  </a:path>
                </a:pathLst>
              </a:custGeom>
              <a:solidFill>
                <a:schemeClr val="tx2">
                  <a:lumMod val="75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96">
                <a:extLst>
                  <a:ext uri="{FF2B5EF4-FFF2-40B4-BE49-F238E27FC236}">
                    <a16:creationId xmlns:a16="http://schemas.microsoft.com/office/drawing/2014/main" id="{636C49AE-D4FB-0045-A4D5-78D668C22BB7}"/>
                  </a:ext>
                </a:extLst>
              </p:cNvPr>
              <p:cNvSpPr/>
              <p:nvPr/>
            </p:nvSpPr>
            <p:spPr>
              <a:xfrm>
                <a:off x="1841579" y="-1589163"/>
                <a:ext cx="27432" cy="2743200"/>
              </a:xfrm>
              <a:prstGeom prst="rect">
                <a:avLst/>
              </a:prstGeom>
              <a:solidFill>
                <a:schemeClr val="tx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25" name="TextBox 93">
              <a:extLst>
                <a:ext uri="{FF2B5EF4-FFF2-40B4-BE49-F238E27FC236}">
                  <a16:creationId xmlns:a16="http://schemas.microsoft.com/office/drawing/2014/main" id="{BF7A01D8-CD57-D941-B98F-C56BF38DEDA9}"/>
                </a:ext>
              </a:extLst>
            </p:cNvPr>
            <p:cNvSpPr txBox="1"/>
            <p:nvPr/>
          </p:nvSpPr>
          <p:spPr>
            <a:xfrm>
              <a:off x="1291974" y="2759404"/>
              <a:ext cx="1126642" cy="40011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2000" b="1">
                  <a:solidFill>
                    <a:schemeClr val="tx2"/>
                  </a:solidFill>
                  <a:latin typeface="+mj-lt"/>
                </a:rPr>
                <a:t>01</a:t>
              </a:r>
            </a:p>
          </p:txBody>
        </p:sp>
      </p:grpSp>
      <p:grpSp>
        <p:nvGrpSpPr>
          <p:cNvPr id="29" name="Group 97">
            <a:extLst>
              <a:ext uri="{FF2B5EF4-FFF2-40B4-BE49-F238E27FC236}">
                <a16:creationId xmlns:a16="http://schemas.microsoft.com/office/drawing/2014/main" id="{E56FDF0A-0C71-D148-942A-2E3E5827AE2C}"/>
              </a:ext>
            </a:extLst>
          </p:cNvPr>
          <p:cNvGrpSpPr/>
          <p:nvPr/>
        </p:nvGrpSpPr>
        <p:grpSpPr>
          <a:xfrm>
            <a:off x="2254984" y="-1438940"/>
            <a:ext cx="1641244" cy="6334820"/>
            <a:chOff x="3155103" y="-1589163"/>
            <a:chExt cx="1641244" cy="6334820"/>
          </a:xfrm>
        </p:grpSpPr>
        <p:sp>
          <p:nvSpPr>
            <p:cNvPr id="30" name="Oval 15">
              <a:extLst>
                <a:ext uri="{FF2B5EF4-FFF2-40B4-BE49-F238E27FC236}">
                  <a16:creationId xmlns:a16="http://schemas.microsoft.com/office/drawing/2014/main" id="{1625A126-B612-0E4A-B135-3869712F33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5103" y="3104413"/>
              <a:ext cx="1641244" cy="1641244"/>
            </a:xfrm>
            <a:prstGeom prst="ellipse">
              <a:avLst/>
            </a:prstGeom>
            <a:solidFill>
              <a:srgbClr val="FFFFFF"/>
            </a:solidFill>
            <a:ln w="61913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6">
              <a:extLst>
                <a:ext uri="{FF2B5EF4-FFF2-40B4-BE49-F238E27FC236}">
                  <a16:creationId xmlns:a16="http://schemas.microsoft.com/office/drawing/2014/main" id="{3FF147A9-4A5D-D648-BA81-607911907396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7029" y="2997754"/>
              <a:ext cx="338480" cy="199170"/>
            </a:xfrm>
            <a:custGeom>
              <a:avLst/>
              <a:gdLst>
                <a:gd name="T0" fmla="*/ 10 w 190"/>
                <a:gd name="T1" fmla="*/ 0 h 112"/>
                <a:gd name="T2" fmla="*/ 181 w 190"/>
                <a:gd name="T3" fmla="*/ 0 h 112"/>
                <a:gd name="T4" fmla="*/ 190 w 190"/>
                <a:gd name="T5" fmla="*/ 9 h 112"/>
                <a:gd name="T6" fmla="*/ 190 w 190"/>
                <a:gd name="T7" fmla="*/ 102 h 112"/>
                <a:gd name="T8" fmla="*/ 181 w 190"/>
                <a:gd name="T9" fmla="*/ 112 h 112"/>
                <a:gd name="T10" fmla="*/ 157 w 190"/>
                <a:gd name="T11" fmla="*/ 112 h 112"/>
                <a:gd name="T12" fmla="*/ 140 w 190"/>
                <a:gd name="T13" fmla="*/ 95 h 112"/>
                <a:gd name="T14" fmla="*/ 124 w 190"/>
                <a:gd name="T15" fmla="*/ 112 h 112"/>
                <a:gd name="T16" fmla="*/ 67 w 190"/>
                <a:gd name="T17" fmla="*/ 112 h 112"/>
                <a:gd name="T18" fmla="*/ 50 w 190"/>
                <a:gd name="T19" fmla="*/ 95 h 112"/>
                <a:gd name="T20" fmla="*/ 34 w 190"/>
                <a:gd name="T21" fmla="*/ 112 h 112"/>
                <a:gd name="T22" fmla="*/ 10 w 190"/>
                <a:gd name="T23" fmla="*/ 112 h 112"/>
                <a:gd name="T24" fmla="*/ 0 w 190"/>
                <a:gd name="T25" fmla="*/ 102 h 112"/>
                <a:gd name="T26" fmla="*/ 0 w 190"/>
                <a:gd name="T27" fmla="*/ 9 h 112"/>
                <a:gd name="T28" fmla="*/ 10 w 190"/>
                <a:gd name="T29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0" h="112">
                  <a:moveTo>
                    <a:pt x="10" y="0"/>
                  </a:moveTo>
                  <a:cubicBezTo>
                    <a:pt x="67" y="0"/>
                    <a:pt x="124" y="0"/>
                    <a:pt x="181" y="0"/>
                  </a:cubicBezTo>
                  <a:cubicBezTo>
                    <a:pt x="186" y="0"/>
                    <a:pt x="190" y="4"/>
                    <a:pt x="190" y="9"/>
                  </a:cubicBezTo>
                  <a:cubicBezTo>
                    <a:pt x="190" y="40"/>
                    <a:pt x="190" y="71"/>
                    <a:pt x="190" y="102"/>
                  </a:cubicBezTo>
                  <a:cubicBezTo>
                    <a:pt x="190" y="107"/>
                    <a:pt x="186" y="112"/>
                    <a:pt x="181" y="112"/>
                  </a:cubicBezTo>
                  <a:cubicBezTo>
                    <a:pt x="173" y="112"/>
                    <a:pt x="165" y="112"/>
                    <a:pt x="157" y="112"/>
                  </a:cubicBezTo>
                  <a:cubicBezTo>
                    <a:pt x="157" y="102"/>
                    <a:pt x="149" y="95"/>
                    <a:pt x="140" y="95"/>
                  </a:cubicBezTo>
                  <a:cubicBezTo>
                    <a:pt x="131" y="95"/>
                    <a:pt x="124" y="102"/>
                    <a:pt x="124" y="112"/>
                  </a:cubicBezTo>
                  <a:cubicBezTo>
                    <a:pt x="105" y="112"/>
                    <a:pt x="86" y="112"/>
                    <a:pt x="67" y="112"/>
                  </a:cubicBezTo>
                  <a:cubicBezTo>
                    <a:pt x="67" y="102"/>
                    <a:pt x="59" y="95"/>
                    <a:pt x="50" y="95"/>
                  </a:cubicBezTo>
                  <a:cubicBezTo>
                    <a:pt x="41" y="95"/>
                    <a:pt x="34" y="102"/>
                    <a:pt x="34" y="112"/>
                  </a:cubicBezTo>
                  <a:cubicBezTo>
                    <a:pt x="26" y="112"/>
                    <a:pt x="18" y="112"/>
                    <a:pt x="10" y="112"/>
                  </a:cubicBezTo>
                  <a:cubicBezTo>
                    <a:pt x="4" y="112"/>
                    <a:pt x="0" y="107"/>
                    <a:pt x="0" y="102"/>
                  </a:cubicBezTo>
                  <a:cubicBezTo>
                    <a:pt x="0" y="71"/>
                    <a:pt x="0" y="40"/>
                    <a:pt x="0" y="9"/>
                  </a:cubicBezTo>
                  <a:cubicBezTo>
                    <a:pt x="0" y="4"/>
                    <a:pt x="4" y="0"/>
                    <a:pt x="1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7">
              <a:extLst>
                <a:ext uri="{FF2B5EF4-FFF2-40B4-BE49-F238E27FC236}">
                  <a16:creationId xmlns:a16="http://schemas.microsoft.com/office/drawing/2014/main" id="{57F967D6-A53A-1547-9C0A-A4B3BE74BBD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2524" y="2997754"/>
              <a:ext cx="46800" cy="176314"/>
            </a:xfrm>
            <a:custGeom>
              <a:avLst/>
              <a:gdLst>
                <a:gd name="T0" fmla="*/ 0 w 26"/>
                <a:gd name="T1" fmla="*/ 0 h 99"/>
                <a:gd name="T2" fmla="*/ 9 w 26"/>
                <a:gd name="T3" fmla="*/ 99 h 99"/>
                <a:gd name="T4" fmla="*/ 19 w 26"/>
                <a:gd name="T5" fmla="*/ 95 h 99"/>
                <a:gd name="T6" fmla="*/ 26 w 26"/>
                <a:gd name="T7" fmla="*/ 97 h 99"/>
                <a:gd name="T8" fmla="*/ 18 w 26"/>
                <a:gd name="T9" fmla="*/ 0 h 99"/>
                <a:gd name="T10" fmla="*/ 0 w 26"/>
                <a:gd name="T11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99">
                  <a:moveTo>
                    <a:pt x="0" y="0"/>
                  </a:moveTo>
                  <a:cubicBezTo>
                    <a:pt x="3" y="39"/>
                    <a:pt x="8" y="87"/>
                    <a:pt x="9" y="99"/>
                  </a:cubicBezTo>
                  <a:cubicBezTo>
                    <a:pt x="12" y="97"/>
                    <a:pt x="15" y="95"/>
                    <a:pt x="19" y="95"/>
                  </a:cubicBezTo>
                  <a:cubicBezTo>
                    <a:pt x="22" y="95"/>
                    <a:pt x="24" y="96"/>
                    <a:pt x="26" y="97"/>
                  </a:cubicBezTo>
                  <a:cubicBezTo>
                    <a:pt x="24" y="71"/>
                    <a:pt x="20" y="29"/>
                    <a:pt x="18" y="0"/>
                  </a:cubicBezTo>
                  <a:cubicBezTo>
                    <a:pt x="12" y="0"/>
                    <a:pt x="6" y="0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8">
              <a:extLst>
                <a:ext uri="{FF2B5EF4-FFF2-40B4-BE49-F238E27FC236}">
                  <a16:creationId xmlns:a16="http://schemas.microsoft.com/office/drawing/2014/main" id="{BC87A15C-9149-C444-84AA-53609FBB6E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5391" y="2997754"/>
              <a:ext cx="48977" cy="177403"/>
            </a:xfrm>
            <a:custGeom>
              <a:avLst/>
              <a:gdLst>
                <a:gd name="T0" fmla="*/ 9 w 27"/>
                <a:gd name="T1" fmla="*/ 0 h 100"/>
                <a:gd name="T2" fmla="*/ 0 w 27"/>
                <a:gd name="T3" fmla="*/ 96 h 100"/>
                <a:gd name="T4" fmla="*/ 6 w 27"/>
                <a:gd name="T5" fmla="*/ 95 h 100"/>
                <a:gd name="T6" fmla="*/ 18 w 27"/>
                <a:gd name="T7" fmla="*/ 100 h 100"/>
                <a:gd name="T8" fmla="*/ 27 w 27"/>
                <a:gd name="T9" fmla="*/ 0 h 100"/>
                <a:gd name="T10" fmla="*/ 9 w 27"/>
                <a:gd name="T11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100">
                  <a:moveTo>
                    <a:pt x="9" y="0"/>
                  </a:moveTo>
                  <a:cubicBezTo>
                    <a:pt x="6" y="35"/>
                    <a:pt x="2" y="79"/>
                    <a:pt x="0" y="96"/>
                  </a:cubicBezTo>
                  <a:cubicBezTo>
                    <a:pt x="2" y="95"/>
                    <a:pt x="4" y="95"/>
                    <a:pt x="6" y="95"/>
                  </a:cubicBezTo>
                  <a:cubicBezTo>
                    <a:pt x="11" y="95"/>
                    <a:pt x="15" y="97"/>
                    <a:pt x="18" y="100"/>
                  </a:cubicBezTo>
                  <a:cubicBezTo>
                    <a:pt x="20" y="74"/>
                    <a:pt x="24" y="30"/>
                    <a:pt x="27" y="0"/>
                  </a:cubicBezTo>
                  <a:cubicBezTo>
                    <a:pt x="21" y="0"/>
                    <a:pt x="15" y="0"/>
                    <a:pt x="9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9">
              <a:extLst>
                <a:ext uri="{FF2B5EF4-FFF2-40B4-BE49-F238E27FC236}">
                  <a16:creationId xmlns:a16="http://schemas.microsoft.com/office/drawing/2014/main" id="{182AE761-B133-AD46-940B-D8CF71210E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4303" y="2773553"/>
              <a:ext cx="93599" cy="412488"/>
            </a:xfrm>
            <a:custGeom>
              <a:avLst/>
              <a:gdLst>
                <a:gd name="T0" fmla="*/ 18 w 53"/>
                <a:gd name="T1" fmla="*/ 11 h 232"/>
                <a:gd name="T2" fmla="*/ 0 w 53"/>
                <a:gd name="T3" fmla="*/ 37 h 232"/>
                <a:gd name="T4" fmla="*/ 15 w 53"/>
                <a:gd name="T5" fmla="*/ 59 h 232"/>
                <a:gd name="T6" fmla="*/ 20 w 53"/>
                <a:gd name="T7" fmla="*/ 63 h 232"/>
                <a:gd name="T8" fmla="*/ 5 w 53"/>
                <a:gd name="T9" fmla="*/ 227 h 232"/>
                <a:gd name="T10" fmla="*/ 9 w 53"/>
                <a:gd name="T11" fmla="*/ 232 h 232"/>
                <a:gd name="T12" fmla="*/ 15 w 53"/>
                <a:gd name="T13" fmla="*/ 227 h 232"/>
                <a:gd name="T14" fmla="*/ 30 w 53"/>
                <a:gd name="T15" fmla="*/ 65 h 232"/>
                <a:gd name="T16" fmla="*/ 21 w 53"/>
                <a:gd name="T17" fmla="*/ 51 h 232"/>
                <a:gd name="T18" fmla="*/ 10 w 53"/>
                <a:gd name="T19" fmla="*/ 37 h 232"/>
                <a:gd name="T20" fmla="*/ 23 w 53"/>
                <a:gd name="T21" fmla="*/ 19 h 232"/>
                <a:gd name="T22" fmla="*/ 53 w 53"/>
                <a:gd name="T23" fmla="*/ 10 h 232"/>
                <a:gd name="T24" fmla="*/ 53 w 53"/>
                <a:gd name="T25" fmla="*/ 0 h 232"/>
                <a:gd name="T26" fmla="*/ 18 w 53"/>
                <a:gd name="T27" fmla="*/ 1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3" h="232">
                  <a:moveTo>
                    <a:pt x="18" y="11"/>
                  </a:moveTo>
                  <a:cubicBezTo>
                    <a:pt x="7" y="18"/>
                    <a:pt x="0" y="28"/>
                    <a:pt x="0" y="37"/>
                  </a:cubicBezTo>
                  <a:cubicBezTo>
                    <a:pt x="0" y="48"/>
                    <a:pt x="8" y="54"/>
                    <a:pt x="15" y="59"/>
                  </a:cubicBezTo>
                  <a:cubicBezTo>
                    <a:pt x="18" y="61"/>
                    <a:pt x="20" y="63"/>
                    <a:pt x="20" y="63"/>
                  </a:cubicBezTo>
                  <a:cubicBezTo>
                    <a:pt x="19" y="70"/>
                    <a:pt x="5" y="226"/>
                    <a:pt x="5" y="227"/>
                  </a:cubicBezTo>
                  <a:cubicBezTo>
                    <a:pt x="5" y="229"/>
                    <a:pt x="7" y="232"/>
                    <a:pt x="9" y="232"/>
                  </a:cubicBezTo>
                  <a:cubicBezTo>
                    <a:pt x="12" y="232"/>
                    <a:pt x="14" y="230"/>
                    <a:pt x="15" y="227"/>
                  </a:cubicBezTo>
                  <a:cubicBezTo>
                    <a:pt x="15" y="227"/>
                    <a:pt x="29" y="72"/>
                    <a:pt x="30" y="65"/>
                  </a:cubicBezTo>
                  <a:cubicBezTo>
                    <a:pt x="31" y="59"/>
                    <a:pt x="26" y="55"/>
                    <a:pt x="21" y="51"/>
                  </a:cubicBezTo>
                  <a:cubicBezTo>
                    <a:pt x="16" y="48"/>
                    <a:pt x="10" y="43"/>
                    <a:pt x="10" y="37"/>
                  </a:cubicBezTo>
                  <a:cubicBezTo>
                    <a:pt x="10" y="31"/>
                    <a:pt x="15" y="24"/>
                    <a:pt x="23" y="19"/>
                  </a:cubicBezTo>
                  <a:cubicBezTo>
                    <a:pt x="31" y="13"/>
                    <a:pt x="42" y="10"/>
                    <a:pt x="53" y="1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40" y="0"/>
                    <a:pt x="27" y="4"/>
                    <a:pt x="18" y="11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0">
              <a:extLst>
                <a:ext uri="{FF2B5EF4-FFF2-40B4-BE49-F238E27FC236}">
                  <a16:creationId xmlns:a16="http://schemas.microsoft.com/office/drawing/2014/main" id="{3FC270E7-04D0-0F4F-98D9-D7BD902A73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7902" y="2773553"/>
              <a:ext cx="94687" cy="412488"/>
            </a:xfrm>
            <a:custGeom>
              <a:avLst/>
              <a:gdLst>
                <a:gd name="T0" fmla="*/ 38 w 53"/>
                <a:gd name="T1" fmla="*/ 59 h 232"/>
                <a:gd name="T2" fmla="*/ 53 w 53"/>
                <a:gd name="T3" fmla="*/ 37 h 232"/>
                <a:gd name="T4" fmla="*/ 35 w 53"/>
                <a:gd name="T5" fmla="*/ 11 h 232"/>
                <a:gd name="T6" fmla="*/ 0 w 53"/>
                <a:gd name="T7" fmla="*/ 0 h 232"/>
                <a:gd name="T8" fmla="*/ 0 w 53"/>
                <a:gd name="T9" fmla="*/ 10 h 232"/>
                <a:gd name="T10" fmla="*/ 30 w 53"/>
                <a:gd name="T11" fmla="*/ 19 h 232"/>
                <a:gd name="T12" fmla="*/ 43 w 53"/>
                <a:gd name="T13" fmla="*/ 37 h 232"/>
                <a:gd name="T14" fmla="*/ 32 w 53"/>
                <a:gd name="T15" fmla="*/ 51 h 232"/>
                <a:gd name="T16" fmla="*/ 23 w 53"/>
                <a:gd name="T17" fmla="*/ 65 h 232"/>
                <a:gd name="T18" fmla="*/ 38 w 53"/>
                <a:gd name="T19" fmla="*/ 227 h 232"/>
                <a:gd name="T20" fmla="*/ 43 w 53"/>
                <a:gd name="T21" fmla="*/ 232 h 232"/>
                <a:gd name="T22" fmla="*/ 48 w 53"/>
                <a:gd name="T23" fmla="*/ 227 h 232"/>
                <a:gd name="T24" fmla="*/ 32 w 53"/>
                <a:gd name="T25" fmla="*/ 63 h 232"/>
                <a:gd name="T26" fmla="*/ 38 w 53"/>
                <a:gd name="T27" fmla="*/ 59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3" h="232">
                  <a:moveTo>
                    <a:pt x="38" y="59"/>
                  </a:moveTo>
                  <a:cubicBezTo>
                    <a:pt x="44" y="54"/>
                    <a:pt x="53" y="48"/>
                    <a:pt x="53" y="37"/>
                  </a:cubicBezTo>
                  <a:cubicBezTo>
                    <a:pt x="53" y="28"/>
                    <a:pt x="46" y="18"/>
                    <a:pt x="35" y="11"/>
                  </a:cubicBezTo>
                  <a:cubicBezTo>
                    <a:pt x="25" y="4"/>
                    <a:pt x="12" y="0"/>
                    <a:pt x="0" y="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0" y="10"/>
                    <a:pt x="21" y="13"/>
                    <a:pt x="30" y="19"/>
                  </a:cubicBezTo>
                  <a:cubicBezTo>
                    <a:pt x="38" y="24"/>
                    <a:pt x="43" y="31"/>
                    <a:pt x="43" y="37"/>
                  </a:cubicBezTo>
                  <a:cubicBezTo>
                    <a:pt x="43" y="43"/>
                    <a:pt x="37" y="48"/>
                    <a:pt x="32" y="51"/>
                  </a:cubicBezTo>
                  <a:cubicBezTo>
                    <a:pt x="26" y="55"/>
                    <a:pt x="22" y="59"/>
                    <a:pt x="23" y="65"/>
                  </a:cubicBezTo>
                  <a:cubicBezTo>
                    <a:pt x="24" y="72"/>
                    <a:pt x="38" y="227"/>
                    <a:pt x="38" y="227"/>
                  </a:cubicBezTo>
                  <a:cubicBezTo>
                    <a:pt x="38" y="230"/>
                    <a:pt x="41" y="232"/>
                    <a:pt x="43" y="232"/>
                  </a:cubicBezTo>
                  <a:cubicBezTo>
                    <a:pt x="46" y="232"/>
                    <a:pt x="48" y="229"/>
                    <a:pt x="48" y="227"/>
                  </a:cubicBezTo>
                  <a:cubicBezTo>
                    <a:pt x="48" y="226"/>
                    <a:pt x="33" y="70"/>
                    <a:pt x="32" y="63"/>
                  </a:cubicBezTo>
                  <a:cubicBezTo>
                    <a:pt x="32" y="63"/>
                    <a:pt x="35" y="61"/>
                    <a:pt x="38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36" name="Group 104">
              <a:extLst>
                <a:ext uri="{FF2B5EF4-FFF2-40B4-BE49-F238E27FC236}">
                  <a16:creationId xmlns:a16="http://schemas.microsoft.com/office/drawing/2014/main" id="{A85470EC-8540-BB4C-8254-EC21B6851807}"/>
                </a:ext>
              </a:extLst>
            </p:cNvPr>
            <p:cNvGrpSpPr/>
            <p:nvPr/>
          </p:nvGrpSpPr>
          <p:grpSpPr>
            <a:xfrm>
              <a:off x="3960488" y="-1589163"/>
              <a:ext cx="28297" cy="4408427"/>
              <a:chOff x="3960488" y="-1589163"/>
              <a:chExt cx="28297" cy="4408427"/>
            </a:xfrm>
          </p:grpSpPr>
          <p:sp>
            <p:nvSpPr>
              <p:cNvPr id="39" name="Freeform 21">
                <a:extLst>
                  <a:ext uri="{FF2B5EF4-FFF2-40B4-BE49-F238E27FC236}">
                    <a16:creationId xmlns:a16="http://schemas.microsoft.com/office/drawing/2014/main" id="{DC6D7EBF-5642-724B-9C85-F44741A776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0488" y="149522"/>
                <a:ext cx="28297" cy="2669742"/>
              </a:xfrm>
              <a:custGeom>
                <a:avLst/>
                <a:gdLst>
                  <a:gd name="T0" fmla="*/ 16 w 16"/>
                  <a:gd name="T1" fmla="*/ 0 h 1501"/>
                  <a:gd name="T2" fmla="*/ 16 w 16"/>
                  <a:gd name="T3" fmla="*/ 1489 h 1501"/>
                  <a:gd name="T4" fmla="*/ 0 w 16"/>
                  <a:gd name="T5" fmla="*/ 1490 h 1501"/>
                  <a:gd name="T6" fmla="*/ 0 w 16"/>
                  <a:gd name="T7" fmla="*/ 0 h 1501"/>
                  <a:gd name="T8" fmla="*/ 16 w 16"/>
                  <a:gd name="T9" fmla="*/ 0 h 15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501">
                    <a:moveTo>
                      <a:pt x="16" y="0"/>
                    </a:moveTo>
                    <a:cubicBezTo>
                      <a:pt x="16" y="1489"/>
                      <a:pt x="16" y="1489"/>
                      <a:pt x="16" y="1489"/>
                    </a:cubicBezTo>
                    <a:cubicBezTo>
                      <a:pt x="16" y="1501"/>
                      <a:pt x="0" y="1500"/>
                      <a:pt x="0" y="149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6" y="0"/>
                    </a:lnTo>
                    <a:close/>
                  </a:path>
                </a:pathLst>
              </a:custGeom>
              <a:solidFill>
                <a:schemeClr val="tx2">
                  <a:lumMod val="75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108">
                <a:extLst>
                  <a:ext uri="{FF2B5EF4-FFF2-40B4-BE49-F238E27FC236}">
                    <a16:creationId xmlns:a16="http://schemas.microsoft.com/office/drawing/2014/main" id="{63627440-68E1-5241-B45F-6C01CB113473}"/>
                  </a:ext>
                </a:extLst>
              </p:cNvPr>
              <p:cNvSpPr/>
              <p:nvPr/>
            </p:nvSpPr>
            <p:spPr>
              <a:xfrm>
                <a:off x="3961353" y="-1589163"/>
                <a:ext cx="27432" cy="2743200"/>
              </a:xfrm>
              <a:prstGeom prst="rect">
                <a:avLst/>
              </a:prstGeom>
              <a:solidFill>
                <a:schemeClr val="tx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8" name="TextBox 106">
              <a:extLst>
                <a:ext uri="{FF2B5EF4-FFF2-40B4-BE49-F238E27FC236}">
                  <a16:creationId xmlns:a16="http://schemas.microsoft.com/office/drawing/2014/main" id="{B8140587-11EE-034A-AD10-1A22FB577046}"/>
                </a:ext>
              </a:extLst>
            </p:cNvPr>
            <p:cNvSpPr txBox="1"/>
            <p:nvPr/>
          </p:nvSpPr>
          <p:spPr>
            <a:xfrm>
              <a:off x="3405260" y="4084444"/>
              <a:ext cx="1140930" cy="40011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2000" b="1">
                  <a:solidFill>
                    <a:schemeClr val="tx2"/>
                  </a:solidFill>
                  <a:latin typeface="+mj-lt"/>
                </a:rPr>
                <a:t>02</a:t>
              </a:r>
            </a:p>
          </p:txBody>
        </p:sp>
      </p:grpSp>
      <p:grpSp>
        <p:nvGrpSpPr>
          <p:cNvPr id="41" name="Group 109">
            <a:extLst>
              <a:ext uri="{FF2B5EF4-FFF2-40B4-BE49-F238E27FC236}">
                <a16:creationId xmlns:a16="http://schemas.microsoft.com/office/drawing/2014/main" id="{49D145A1-D2E2-7B45-8175-CA16D9E13E25}"/>
              </a:ext>
            </a:extLst>
          </p:cNvPr>
          <p:cNvGrpSpPr/>
          <p:nvPr/>
        </p:nvGrpSpPr>
        <p:grpSpPr>
          <a:xfrm>
            <a:off x="6485793" y="-1538780"/>
            <a:ext cx="1641244" cy="6334820"/>
            <a:chOff x="7398777" y="-1589163"/>
            <a:chExt cx="1641244" cy="6334820"/>
          </a:xfrm>
        </p:grpSpPr>
        <p:sp>
          <p:nvSpPr>
            <p:cNvPr id="42" name="Oval 15">
              <a:extLst>
                <a:ext uri="{FF2B5EF4-FFF2-40B4-BE49-F238E27FC236}">
                  <a16:creationId xmlns:a16="http://schemas.microsoft.com/office/drawing/2014/main" id="{4A6C0BFC-915E-2340-A90A-388BE6BDAD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98777" y="3104413"/>
              <a:ext cx="1641244" cy="1641244"/>
            </a:xfrm>
            <a:prstGeom prst="ellipse">
              <a:avLst/>
            </a:prstGeom>
            <a:solidFill>
              <a:srgbClr val="FFFFFF"/>
            </a:solidFill>
            <a:ln w="61913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6">
              <a:extLst>
                <a:ext uri="{FF2B5EF4-FFF2-40B4-BE49-F238E27FC236}">
                  <a16:creationId xmlns:a16="http://schemas.microsoft.com/office/drawing/2014/main" id="{83FF0739-40D0-3D42-8F73-409595455C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050703" y="2997754"/>
              <a:ext cx="338480" cy="199170"/>
            </a:xfrm>
            <a:custGeom>
              <a:avLst/>
              <a:gdLst>
                <a:gd name="T0" fmla="*/ 10 w 190"/>
                <a:gd name="T1" fmla="*/ 0 h 112"/>
                <a:gd name="T2" fmla="*/ 181 w 190"/>
                <a:gd name="T3" fmla="*/ 0 h 112"/>
                <a:gd name="T4" fmla="*/ 190 w 190"/>
                <a:gd name="T5" fmla="*/ 9 h 112"/>
                <a:gd name="T6" fmla="*/ 190 w 190"/>
                <a:gd name="T7" fmla="*/ 102 h 112"/>
                <a:gd name="T8" fmla="*/ 181 w 190"/>
                <a:gd name="T9" fmla="*/ 112 h 112"/>
                <a:gd name="T10" fmla="*/ 157 w 190"/>
                <a:gd name="T11" fmla="*/ 112 h 112"/>
                <a:gd name="T12" fmla="*/ 140 w 190"/>
                <a:gd name="T13" fmla="*/ 95 h 112"/>
                <a:gd name="T14" fmla="*/ 124 w 190"/>
                <a:gd name="T15" fmla="*/ 112 h 112"/>
                <a:gd name="T16" fmla="*/ 67 w 190"/>
                <a:gd name="T17" fmla="*/ 112 h 112"/>
                <a:gd name="T18" fmla="*/ 50 w 190"/>
                <a:gd name="T19" fmla="*/ 95 h 112"/>
                <a:gd name="T20" fmla="*/ 34 w 190"/>
                <a:gd name="T21" fmla="*/ 112 h 112"/>
                <a:gd name="T22" fmla="*/ 10 w 190"/>
                <a:gd name="T23" fmla="*/ 112 h 112"/>
                <a:gd name="T24" fmla="*/ 0 w 190"/>
                <a:gd name="T25" fmla="*/ 102 h 112"/>
                <a:gd name="T26" fmla="*/ 0 w 190"/>
                <a:gd name="T27" fmla="*/ 9 h 112"/>
                <a:gd name="T28" fmla="*/ 10 w 190"/>
                <a:gd name="T29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0" h="112">
                  <a:moveTo>
                    <a:pt x="10" y="0"/>
                  </a:moveTo>
                  <a:cubicBezTo>
                    <a:pt x="67" y="0"/>
                    <a:pt x="124" y="0"/>
                    <a:pt x="181" y="0"/>
                  </a:cubicBezTo>
                  <a:cubicBezTo>
                    <a:pt x="186" y="0"/>
                    <a:pt x="190" y="4"/>
                    <a:pt x="190" y="9"/>
                  </a:cubicBezTo>
                  <a:cubicBezTo>
                    <a:pt x="190" y="40"/>
                    <a:pt x="190" y="71"/>
                    <a:pt x="190" y="102"/>
                  </a:cubicBezTo>
                  <a:cubicBezTo>
                    <a:pt x="190" y="107"/>
                    <a:pt x="186" y="112"/>
                    <a:pt x="181" y="112"/>
                  </a:cubicBezTo>
                  <a:cubicBezTo>
                    <a:pt x="173" y="112"/>
                    <a:pt x="165" y="112"/>
                    <a:pt x="157" y="112"/>
                  </a:cubicBezTo>
                  <a:cubicBezTo>
                    <a:pt x="157" y="102"/>
                    <a:pt x="149" y="95"/>
                    <a:pt x="140" y="95"/>
                  </a:cubicBezTo>
                  <a:cubicBezTo>
                    <a:pt x="131" y="95"/>
                    <a:pt x="124" y="102"/>
                    <a:pt x="124" y="112"/>
                  </a:cubicBezTo>
                  <a:cubicBezTo>
                    <a:pt x="105" y="112"/>
                    <a:pt x="86" y="112"/>
                    <a:pt x="67" y="112"/>
                  </a:cubicBezTo>
                  <a:cubicBezTo>
                    <a:pt x="67" y="102"/>
                    <a:pt x="59" y="95"/>
                    <a:pt x="50" y="95"/>
                  </a:cubicBezTo>
                  <a:cubicBezTo>
                    <a:pt x="41" y="95"/>
                    <a:pt x="34" y="102"/>
                    <a:pt x="34" y="112"/>
                  </a:cubicBezTo>
                  <a:cubicBezTo>
                    <a:pt x="26" y="112"/>
                    <a:pt x="18" y="112"/>
                    <a:pt x="10" y="112"/>
                  </a:cubicBezTo>
                  <a:cubicBezTo>
                    <a:pt x="4" y="112"/>
                    <a:pt x="0" y="107"/>
                    <a:pt x="0" y="102"/>
                  </a:cubicBezTo>
                  <a:cubicBezTo>
                    <a:pt x="0" y="71"/>
                    <a:pt x="0" y="40"/>
                    <a:pt x="0" y="9"/>
                  </a:cubicBezTo>
                  <a:cubicBezTo>
                    <a:pt x="0" y="4"/>
                    <a:pt x="4" y="0"/>
                    <a:pt x="1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17">
              <a:extLst>
                <a:ext uri="{FF2B5EF4-FFF2-40B4-BE49-F238E27FC236}">
                  <a16:creationId xmlns:a16="http://schemas.microsoft.com/office/drawing/2014/main" id="{121FD8B9-FB6C-B64D-B58E-F9CB3A92663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6198" y="2997754"/>
              <a:ext cx="46800" cy="176314"/>
            </a:xfrm>
            <a:custGeom>
              <a:avLst/>
              <a:gdLst>
                <a:gd name="T0" fmla="*/ 0 w 26"/>
                <a:gd name="T1" fmla="*/ 0 h 99"/>
                <a:gd name="T2" fmla="*/ 9 w 26"/>
                <a:gd name="T3" fmla="*/ 99 h 99"/>
                <a:gd name="T4" fmla="*/ 19 w 26"/>
                <a:gd name="T5" fmla="*/ 95 h 99"/>
                <a:gd name="T6" fmla="*/ 26 w 26"/>
                <a:gd name="T7" fmla="*/ 97 h 99"/>
                <a:gd name="T8" fmla="*/ 18 w 26"/>
                <a:gd name="T9" fmla="*/ 0 h 99"/>
                <a:gd name="T10" fmla="*/ 0 w 26"/>
                <a:gd name="T11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99">
                  <a:moveTo>
                    <a:pt x="0" y="0"/>
                  </a:moveTo>
                  <a:cubicBezTo>
                    <a:pt x="3" y="39"/>
                    <a:pt x="8" y="87"/>
                    <a:pt x="9" y="99"/>
                  </a:cubicBezTo>
                  <a:cubicBezTo>
                    <a:pt x="12" y="97"/>
                    <a:pt x="15" y="95"/>
                    <a:pt x="19" y="95"/>
                  </a:cubicBezTo>
                  <a:cubicBezTo>
                    <a:pt x="22" y="95"/>
                    <a:pt x="24" y="96"/>
                    <a:pt x="26" y="97"/>
                  </a:cubicBezTo>
                  <a:cubicBezTo>
                    <a:pt x="24" y="71"/>
                    <a:pt x="20" y="29"/>
                    <a:pt x="18" y="0"/>
                  </a:cubicBezTo>
                  <a:cubicBezTo>
                    <a:pt x="12" y="0"/>
                    <a:pt x="6" y="0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8">
              <a:extLst>
                <a:ext uri="{FF2B5EF4-FFF2-40B4-BE49-F238E27FC236}">
                  <a16:creationId xmlns:a16="http://schemas.microsoft.com/office/drawing/2014/main" id="{042D8F50-0CC6-A840-8F01-3897A74701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129065" y="2997754"/>
              <a:ext cx="48977" cy="177403"/>
            </a:xfrm>
            <a:custGeom>
              <a:avLst/>
              <a:gdLst>
                <a:gd name="T0" fmla="*/ 9 w 27"/>
                <a:gd name="T1" fmla="*/ 0 h 100"/>
                <a:gd name="T2" fmla="*/ 0 w 27"/>
                <a:gd name="T3" fmla="*/ 96 h 100"/>
                <a:gd name="T4" fmla="*/ 6 w 27"/>
                <a:gd name="T5" fmla="*/ 95 h 100"/>
                <a:gd name="T6" fmla="*/ 18 w 27"/>
                <a:gd name="T7" fmla="*/ 100 h 100"/>
                <a:gd name="T8" fmla="*/ 27 w 27"/>
                <a:gd name="T9" fmla="*/ 0 h 100"/>
                <a:gd name="T10" fmla="*/ 9 w 27"/>
                <a:gd name="T11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100">
                  <a:moveTo>
                    <a:pt x="9" y="0"/>
                  </a:moveTo>
                  <a:cubicBezTo>
                    <a:pt x="6" y="35"/>
                    <a:pt x="2" y="79"/>
                    <a:pt x="0" y="96"/>
                  </a:cubicBezTo>
                  <a:cubicBezTo>
                    <a:pt x="2" y="95"/>
                    <a:pt x="4" y="95"/>
                    <a:pt x="6" y="95"/>
                  </a:cubicBezTo>
                  <a:cubicBezTo>
                    <a:pt x="11" y="95"/>
                    <a:pt x="15" y="97"/>
                    <a:pt x="18" y="100"/>
                  </a:cubicBezTo>
                  <a:cubicBezTo>
                    <a:pt x="20" y="74"/>
                    <a:pt x="24" y="30"/>
                    <a:pt x="27" y="0"/>
                  </a:cubicBezTo>
                  <a:cubicBezTo>
                    <a:pt x="21" y="0"/>
                    <a:pt x="15" y="0"/>
                    <a:pt x="9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19">
              <a:extLst>
                <a:ext uri="{FF2B5EF4-FFF2-40B4-BE49-F238E27FC236}">
                  <a16:creationId xmlns:a16="http://schemas.microsoft.com/office/drawing/2014/main" id="{0F8AE391-D80A-BB4C-BB23-B9F42A070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27977" y="2773553"/>
              <a:ext cx="93599" cy="412488"/>
            </a:xfrm>
            <a:custGeom>
              <a:avLst/>
              <a:gdLst>
                <a:gd name="T0" fmla="*/ 18 w 53"/>
                <a:gd name="T1" fmla="*/ 11 h 232"/>
                <a:gd name="T2" fmla="*/ 0 w 53"/>
                <a:gd name="T3" fmla="*/ 37 h 232"/>
                <a:gd name="T4" fmla="*/ 15 w 53"/>
                <a:gd name="T5" fmla="*/ 59 h 232"/>
                <a:gd name="T6" fmla="*/ 20 w 53"/>
                <a:gd name="T7" fmla="*/ 63 h 232"/>
                <a:gd name="T8" fmla="*/ 5 w 53"/>
                <a:gd name="T9" fmla="*/ 227 h 232"/>
                <a:gd name="T10" fmla="*/ 9 w 53"/>
                <a:gd name="T11" fmla="*/ 232 h 232"/>
                <a:gd name="T12" fmla="*/ 15 w 53"/>
                <a:gd name="T13" fmla="*/ 227 h 232"/>
                <a:gd name="T14" fmla="*/ 30 w 53"/>
                <a:gd name="T15" fmla="*/ 65 h 232"/>
                <a:gd name="T16" fmla="*/ 21 w 53"/>
                <a:gd name="T17" fmla="*/ 51 h 232"/>
                <a:gd name="T18" fmla="*/ 10 w 53"/>
                <a:gd name="T19" fmla="*/ 37 h 232"/>
                <a:gd name="T20" fmla="*/ 23 w 53"/>
                <a:gd name="T21" fmla="*/ 19 h 232"/>
                <a:gd name="T22" fmla="*/ 53 w 53"/>
                <a:gd name="T23" fmla="*/ 10 h 232"/>
                <a:gd name="T24" fmla="*/ 53 w 53"/>
                <a:gd name="T25" fmla="*/ 0 h 232"/>
                <a:gd name="T26" fmla="*/ 18 w 53"/>
                <a:gd name="T27" fmla="*/ 1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3" h="232">
                  <a:moveTo>
                    <a:pt x="18" y="11"/>
                  </a:moveTo>
                  <a:cubicBezTo>
                    <a:pt x="7" y="18"/>
                    <a:pt x="0" y="28"/>
                    <a:pt x="0" y="37"/>
                  </a:cubicBezTo>
                  <a:cubicBezTo>
                    <a:pt x="0" y="48"/>
                    <a:pt x="8" y="54"/>
                    <a:pt x="15" y="59"/>
                  </a:cubicBezTo>
                  <a:cubicBezTo>
                    <a:pt x="18" y="61"/>
                    <a:pt x="20" y="63"/>
                    <a:pt x="20" y="63"/>
                  </a:cubicBezTo>
                  <a:cubicBezTo>
                    <a:pt x="19" y="70"/>
                    <a:pt x="5" y="226"/>
                    <a:pt x="5" y="227"/>
                  </a:cubicBezTo>
                  <a:cubicBezTo>
                    <a:pt x="5" y="229"/>
                    <a:pt x="7" y="232"/>
                    <a:pt x="9" y="232"/>
                  </a:cubicBezTo>
                  <a:cubicBezTo>
                    <a:pt x="12" y="232"/>
                    <a:pt x="14" y="230"/>
                    <a:pt x="15" y="227"/>
                  </a:cubicBezTo>
                  <a:cubicBezTo>
                    <a:pt x="15" y="227"/>
                    <a:pt x="29" y="72"/>
                    <a:pt x="30" y="65"/>
                  </a:cubicBezTo>
                  <a:cubicBezTo>
                    <a:pt x="31" y="59"/>
                    <a:pt x="26" y="55"/>
                    <a:pt x="21" y="51"/>
                  </a:cubicBezTo>
                  <a:cubicBezTo>
                    <a:pt x="16" y="48"/>
                    <a:pt x="10" y="43"/>
                    <a:pt x="10" y="37"/>
                  </a:cubicBezTo>
                  <a:cubicBezTo>
                    <a:pt x="10" y="31"/>
                    <a:pt x="15" y="24"/>
                    <a:pt x="23" y="19"/>
                  </a:cubicBezTo>
                  <a:cubicBezTo>
                    <a:pt x="31" y="13"/>
                    <a:pt x="42" y="10"/>
                    <a:pt x="53" y="1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40" y="0"/>
                    <a:pt x="27" y="4"/>
                    <a:pt x="18" y="11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0">
              <a:extLst>
                <a:ext uri="{FF2B5EF4-FFF2-40B4-BE49-F238E27FC236}">
                  <a16:creationId xmlns:a16="http://schemas.microsoft.com/office/drawing/2014/main" id="{51E2D1EE-1778-384B-85F5-1A9126F316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221576" y="2773553"/>
              <a:ext cx="94687" cy="412488"/>
            </a:xfrm>
            <a:custGeom>
              <a:avLst/>
              <a:gdLst>
                <a:gd name="T0" fmla="*/ 38 w 53"/>
                <a:gd name="T1" fmla="*/ 59 h 232"/>
                <a:gd name="T2" fmla="*/ 53 w 53"/>
                <a:gd name="T3" fmla="*/ 37 h 232"/>
                <a:gd name="T4" fmla="*/ 35 w 53"/>
                <a:gd name="T5" fmla="*/ 11 h 232"/>
                <a:gd name="T6" fmla="*/ 0 w 53"/>
                <a:gd name="T7" fmla="*/ 0 h 232"/>
                <a:gd name="T8" fmla="*/ 0 w 53"/>
                <a:gd name="T9" fmla="*/ 10 h 232"/>
                <a:gd name="T10" fmla="*/ 30 w 53"/>
                <a:gd name="T11" fmla="*/ 19 h 232"/>
                <a:gd name="T12" fmla="*/ 43 w 53"/>
                <a:gd name="T13" fmla="*/ 37 h 232"/>
                <a:gd name="T14" fmla="*/ 32 w 53"/>
                <a:gd name="T15" fmla="*/ 51 h 232"/>
                <a:gd name="T16" fmla="*/ 23 w 53"/>
                <a:gd name="T17" fmla="*/ 65 h 232"/>
                <a:gd name="T18" fmla="*/ 38 w 53"/>
                <a:gd name="T19" fmla="*/ 227 h 232"/>
                <a:gd name="T20" fmla="*/ 43 w 53"/>
                <a:gd name="T21" fmla="*/ 232 h 232"/>
                <a:gd name="T22" fmla="*/ 48 w 53"/>
                <a:gd name="T23" fmla="*/ 227 h 232"/>
                <a:gd name="T24" fmla="*/ 32 w 53"/>
                <a:gd name="T25" fmla="*/ 63 h 232"/>
                <a:gd name="T26" fmla="*/ 38 w 53"/>
                <a:gd name="T27" fmla="*/ 59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3" h="232">
                  <a:moveTo>
                    <a:pt x="38" y="59"/>
                  </a:moveTo>
                  <a:cubicBezTo>
                    <a:pt x="44" y="54"/>
                    <a:pt x="53" y="48"/>
                    <a:pt x="53" y="37"/>
                  </a:cubicBezTo>
                  <a:cubicBezTo>
                    <a:pt x="53" y="28"/>
                    <a:pt x="46" y="18"/>
                    <a:pt x="35" y="11"/>
                  </a:cubicBezTo>
                  <a:cubicBezTo>
                    <a:pt x="25" y="4"/>
                    <a:pt x="12" y="0"/>
                    <a:pt x="0" y="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0" y="10"/>
                    <a:pt x="21" y="13"/>
                    <a:pt x="30" y="19"/>
                  </a:cubicBezTo>
                  <a:cubicBezTo>
                    <a:pt x="38" y="24"/>
                    <a:pt x="43" y="31"/>
                    <a:pt x="43" y="37"/>
                  </a:cubicBezTo>
                  <a:cubicBezTo>
                    <a:pt x="43" y="43"/>
                    <a:pt x="37" y="48"/>
                    <a:pt x="32" y="51"/>
                  </a:cubicBezTo>
                  <a:cubicBezTo>
                    <a:pt x="26" y="55"/>
                    <a:pt x="22" y="59"/>
                    <a:pt x="23" y="65"/>
                  </a:cubicBezTo>
                  <a:cubicBezTo>
                    <a:pt x="24" y="72"/>
                    <a:pt x="38" y="227"/>
                    <a:pt x="38" y="227"/>
                  </a:cubicBezTo>
                  <a:cubicBezTo>
                    <a:pt x="38" y="230"/>
                    <a:pt x="41" y="232"/>
                    <a:pt x="43" y="232"/>
                  </a:cubicBezTo>
                  <a:cubicBezTo>
                    <a:pt x="46" y="232"/>
                    <a:pt x="48" y="229"/>
                    <a:pt x="48" y="227"/>
                  </a:cubicBezTo>
                  <a:cubicBezTo>
                    <a:pt x="48" y="226"/>
                    <a:pt x="33" y="70"/>
                    <a:pt x="32" y="63"/>
                  </a:cubicBezTo>
                  <a:cubicBezTo>
                    <a:pt x="32" y="63"/>
                    <a:pt x="35" y="61"/>
                    <a:pt x="38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48" name="Group 116">
              <a:extLst>
                <a:ext uri="{FF2B5EF4-FFF2-40B4-BE49-F238E27FC236}">
                  <a16:creationId xmlns:a16="http://schemas.microsoft.com/office/drawing/2014/main" id="{A095CABF-F712-B84F-9960-F03652515307}"/>
                </a:ext>
              </a:extLst>
            </p:cNvPr>
            <p:cNvGrpSpPr/>
            <p:nvPr/>
          </p:nvGrpSpPr>
          <p:grpSpPr>
            <a:xfrm>
              <a:off x="8204162" y="-1589163"/>
              <a:ext cx="28297" cy="4408427"/>
              <a:chOff x="8204162" y="-1589163"/>
              <a:chExt cx="28297" cy="4408427"/>
            </a:xfrm>
          </p:grpSpPr>
          <p:sp>
            <p:nvSpPr>
              <p:cNvPr id="51" name="Freeform 21">
                <a:extLst>
                  <a:ext uri="{FF2B5EF4-FFF2-40B4-BE49-F238E27FC236}">
                    <a16:creationId xmlns:a16="http://schemas.microsoft.com/office/drawing/2014/main" id="{88CACB2B-41FE-7045-99E5-19DE361053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04162" y="149522"/>
                <a:ext cx="28297" cy="2669742"/>
              </a:xfrm>
              <a:custGeom>
                <a:avLst/>
                <a:gdLst>
                  <a:gd name="T0" fmla="*/ 16 w 16"/>
                  <a:gd name="T1" fmla="*/ 0 h 1501"/>
                  <a:gd name="T2" fmla="*/ 16 w 16"/>
                  <a:gd name="T3" fmla="*/ 1489 h 1501"/>
                  <a:gd name="T4" fmla="*/ 0 w 16"/>
                  <a:gd name="T5" fmla="*/ 1490 h 1501"/>
                  <a:gd name="T6" fmla="*/ 0 w 16"/>
                  <a:gd name="T7" fmla="*/ 0 h 1501"/>
                  <a:gd name="T8" fmla="*/ 16 w 16"/>
                  <a:gd name="T9" fmla="*/ 0 h 15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501">
                    <a:moveTo>
                      <a:pt x="16" y="0"/>
                    </a:moveTo>
                    <a:cubicBezTo>
                      <a:pt x="16" y="1489"/>
                      <a:pt x="16" y="1489"/>
                      <a:pt x="16" y="1489"/>
                    </a:cubicBezTo>
                    <a:cubicBezTo>
                      <a:pt x="16" y="1501"/>
                      <a:pt x="0" y="1500"/>
                      <a:pt x="0" y="149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6" y="0"/>
                    </a:lnTo>
                    <a:close/>
                  </a:path>
                </a:pathLst>
              </a:custGeom>
              <a:solidFill>
                <a:schemeClr val="tx2">
                  <a:lumMod val="75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Rectangle 120">
                <a:extLst>
                  <a:ext uri="{FF2B5EF4-FFF2-40B4-BE49-F238E27FC236}">
                    <a16:creationId xmlns:a16="http://schemas.microsoft.com/office/drawing/2014/main" id="{31A367E7-3ADA-A244-AABB-8ECFCDEA98CE}"/>
                  </a:ext>
                </a:extLst>
              </p:cNvPr>
              <p:cNvSpPr/>
              <p:nvPr/>
            </p:nvSpPr>
            <p:spPr>
              <a:xfrm>
                <a:off x="8205027" y="-1589163"/>
                <a:ext cx="27432" cy="2743200"/>
              </a:xfrm>
              <a:prstGeom prst="rect">
                <a:avLst/>
              </a:prstGeom>
              <a:solidFill>
                <a:schemeClr val="tx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50" name="TextBox 118">
              <a:extLst>
                <a:ext uri="{FF2B5EF4-FFF2-40B4-BE49-F238E27FC236}">
                  <a16:creationId xmlns:a16="http://schemas.microsoft.com/office/drawing/2014/main" id="{DDAB9D5E-3CF8-CA4D-8EB6-E35A4CF8D247}"/>
                </a:ext>
              </a:extLst>
            </p:cNvPr>
            <p:cNvSpPr txBox="1"/>
            <p:nvPr/>
          </p:nvSpPr>
          <p:spPr>
            <a:xfrm>
              <a:off x="7595244" y="4084444"/>
              <a:ext cx="1248310" cy="40011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2000" b="1">
                  <a:solidFill>
                    <a:schemeClr val="tx2"/>
                  </a:solidFill>
                  <a:latin typeface="+mj-lt"/>
                </a:rPr>
                <a:t>04</a:t>
              </a:r>
            </a:p>
          </p:txBody>
        </p:sp>
      </p:grpSp>
      <p:grpSp>
        <p:nvGrpSpPr>
          <p:cNvPr id="53" name="Group 121">
            <a:extLst>
              <a:ext uri="{FF2B5EF4-FFF2-40B4-BE49-F238E27FC236}">
                <a16:creationId xmlns:a16="http://schemas.microsoft.com/office/drawing/2014/main" id="{33A89E0C-3B6F-A341-9C85-8C41B0D6BC51}"/>
              </a:ext>
            </a:extLst>
          </p:cNvPr>
          <p:cNvGrpSpPr/>
          <p:nvPr/>
        </p:nvGrpSpPr>
        <p:grpSpPr>
          <a:xfrm>
            <a:off x="4376277" y="-1438940"/>
            <a:ext cx="1642332" cy="4991787"/>
            <a:chOff x="5276396" y="-1589163"/>
            <a:chExt cx="1642332" cy="4991787"/>
          </a:xfrm>
        </p:grpSpPr>
        <p:sp>
          <p:nvSpPr>
            <p:cNvPr id="54" name="Oval 5">
              <a:extLst>
                <a:ext uri="{FF2B5EF4-FFF2-40B4-BE49-F238E27FC236}">
                  <a16:creationId xmlns:a16="http://schemas.microsoft.com/office/drawing/2014/main" id="{ADF60181-0665-534C-BB4E-D5888D6FB1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76396" y="1761380"/>
              <a:ext cx="1642332" cy="1641244"/>
            </a:xfrm>
            <a:prstGeom prst="ellipse">
              <a:avLst/>
            </a:prstGeom>
            <a:solidFill>
              <a:srgbClr val="FFFFFF"/>
            </a:solidFill>
            <a:ln w="61913" cap="flat">
              <a:solidFill>
                <a:schemeClr val="accent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6">
              <a:extLst>
                <a:ext uri="{FF2B5EF4-FFF2-40B4-BE49-F238E27FC236}">
                  <a16:creationId xmlns:a16="http://schemas.microsoft.com/office/drawing/2014/main" id="{4BEB8B61-2684-D942-B10A-8527DD76534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9411" y="1654722"/>
              <a:ext cx="338479" cy="199170"/>
            </a:xfrm>
            <a:custGeom>
              <a:avLst/>
              <a:gdLst>
                <a:gd name="T0" fmla="*/ 9 w 190"/>
                <a:gd name="T1" fmla="*/ 0 h 112"/>
                <a:gd name="T2" fmla="*/ 180 w 190"/>
                <a:gd name="T3" fmla="*/ 0 h 112"/>
                <a:gd name="T4" fmla="*/ 190 w 190"/>
                <a:gd name="T5" fmla="*/ 10 h 112"/>
                <a:gd name="T6" fmla="*/ 190 w 190"/>
                <a:gd name="T7" fmla="*/ 103 h 112"/>
                <a:gd name="T8" fmla="*/ 180 w 190"/>
                <a:gd name="T9" fmla="*/ 112 h 112"/>
                <a:gd name="T10" fmla="*/ 156 w 190"/>
                <a:gd name="T11" fmla="*/ 112 h 112"/>
                <a:gd name="T12" fmla="*/ 140 w 190"/>
                <a:gd name="T13" fmla="*/ 95 h 112"/>
                <a:gd name="T14" fmla="*/ 123 w 190"/>
                <a:gd name="T15" fmla="*/ 112 h 112"/>
                <a:gd name="T16" fmla="*/ 66 w 190"/>
                <a:gd name="T17" fmla="*/ 112 h 112"/>
                <a:gd name="T18" fmla="*/ 50 w 190"/>
                <a:gd name="T19" fmla="*/ 95 h 112"/>
                <a:gd name="T20" fmla="*/ 33 w 190"/>
                <a:gd name="T21" fmla="*/ 112 h 112"/>
                <a:gd name="T22" fmla="*/ 9 w 190"/>
                <a:gd name="T23" fmla="*/ 112 h 112"/>
                <a:gd name="T24" fmla="*/ 0 w 190"/>
                <a:gd name="T25" fmla="*/ 103 h 112"/>
                <a:gd name="T26" fmla="*/ 0 w 190"/>
                <a:gd name="T27" fmla="*/ 10 h 112"/>
                <a:gd name="T28" fmla="*/ 9 w 190"/>
                <a:gd name="T29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0" h="112">
                  <a:moveTo>
                    <a:pt x="9" y="0"/>
                  </a:moveTo>
                  <a:cubicBezTo>
                    <a:pt x="66" y="0"/>
                    <a:pt x="123" y="0"/>
                    <a:pt x="180" y="0"/>
                  </a:cubicBezTo>
                  <a:cubicBezTo>
                    <a:pt x="186" y="0"/>
                    <a:pt x="190" y="4"/>
                    <a:pt x="190" y="10"/>
                  </a:cubicBezTo>
                  <a:cubicBezTo>
                    <a:pt x="190" y="41"/>
                    <a:pt x="190" y="72"/>
                    <a:pt x="190" y="103"/>
                  </a:cubicBezTo>
                  <a:cubicBezTo>
                    <a:pt x="190" y="108"/>
                    <a:pt x="186" y="112"/>
                    <a:pt x="180" y="112"/>
                  </a:cubicBezTo>
                  <a:cubicBezTo>
                    <a:pt x="172" y="112"/>
                    <a:pt x="164" y="112"/>
                    <a:pt x="156" y="112"/>
                  </a:cubicBezTo>
                  <a:cubicBezTo>
                    <a:pt x="156" y="103"/>
                    <a:pt x="149" y="95"/>
                    <a:pt x="140" y="95"/>
                  </a:cubicBezTo>
                  <a:cubicBezTo>
                    <a:pt x="131" y="95"/>
                    <a:pt x="123" y="103"/>
                    <a:pt x="123" y="112"/>
                  </a:cubicBezTo>
                  <a:cubicBezTo>
                    <a:pt x="104" y="112"/>
                    <a:pt x="85" y="112"/>
                    <a:pt x="66" y="112"/>
                  </a:cubicBezTo>
                  <a:cubicBezTo>
                    <a:pt x="66" y="103"/>
                    <a:pt x="59" y="95"/>
                    <a:pt x="50" y="95"/>
                  </a:cubicBezTo>
                  <a:cubicBezTo>
                    <a:pt x="41" y="95"/>
                    <a:pt x="33" y="103"/>
                    <a:pt x="33" y="112"/>
                  </a:cubicBezTo>
                  <a:cubicBezTo>
                    <a:pt x="25" y="112"/>
                    <a:pt x="17" y="112"/>
                    <a:pt x="9" y="112"/>
                  </a:cubicBezTo>
                  <a:cubicBezTo>
                    <a:pt x="4" y="112"/>
                    <a:pt x="0" y="108"/>
                    <a:pt x="0" y="103"/>
                  </a:cubicBezTo>
                  <a:cubicBezTo>
                    <a:pt x="0" y="72"/>
                    <a:pt x="0" y="41"/>
                    <a:pt x="0" y="10"/>
                  </a:cubicBezTo>
                  <a:cubicBezTo>
                    <a:pt x="0" y="4"/>
                    <a:pt x="4" y="0"/>
                    <a:pt x="9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7">
              <a:extLst>
                <a:ext uri="{FF2B5EF4-FFF2-40B4-BE49-F238E27FC236}">
                  <a16:creationId xmlns:a16="http://schemas.microsoft.com/office/drawing/2014/main" id="{1B3F5E7C-395F-7340-8312-364932A264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2728" y="1654721"/>
              <a:ext cx="47888" cy="176314"/>
            </a:xfrm>
            <a:custGeom>
              <a:avLst/>
              <a:gdLst>
                <a:gd name="T0" fmla="*/ 0 w 27"/>
                <a:gd name="T1" fmla="*/ 0 h 99"/>
                <a:gd name="T2" fmla="*/ 9 w 27"/>
                <a:gd name="T3" fmla="*/ 99 h 99"/>
                <a:gd name="T4" fmla="*/ 20 w 27"/>
                <a:gd name="T5" fmla="*/ 95 h 99"/>
                <a:gd name="T6" fmla="*/ 27 w 27"/>
                <a:gd name="T7" fmla="*/ 97 h 99"/>
                <a:gd name="T8" fmla="*/ 18 w 27"/>
                <a:gd name="T9" fmla="*/ 0 h 99"/>
                <a:gd name="T10" fmla="*/ 0 w 27"/>
                <a:gd name="T11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99">
                  <a:moveTo>
                    <a:pt x="0" y="0"/>
                  </a:moveTo>
                  <a:cubicBezTo>
                    <a:pt x="4" y="39"/>
                    <a:pt x="8" y="87"/>
                    <a:pt x="9" y="99"/>
                  </a:cubicBezTo>
                  <a:cubicBezTo>
                    <a:pt x="12" y="97"/>
                    <a:pt x="16" y="95"/>
                    <a:pt x="20" y="95"/>
                  </a:cubicBezTo>
                  <a:cubicBezTo>
                    <a:pt x="22" y="95"/>
                    <a:pt x="25" y="96"/>
                    <a:pt x="27" y="97"/>
                  </a:cubicBezTo>
                  <a:cubicBezTo>
                    <a:pt x="24" y="72"/>
                    <a:pt x="21" y="30"/>
                    <a:pt x="18" y="0"/>
                  </a:cubicBezTo>
                  <a:cubicBezTo>
                    <a:pt x="12" y="0"/>
                    <a:pt x="6" y="0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8">
              <a:extLst>
                <a:ext uri="{FF2B5EF4-FFF2-40B4-BE49-F238E27FC236}">
                  <a16:creationId xmlns:a16="http://schemas.microsoft.com/office/drawing/2014/main" id="{25368B59-75BC-3942-B4B1-BAC275107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7773" y="1654721"/>
              <a:ext cx="46800" cy="177403"/>
            </a:xfrm>
            <a:custGeom>
              <a:avLst/>
              <a:gdLst>
                <a:gd name="T0" fmla="*/ 8 w 26"/>
                <a:gd name="T1" fmla="*/ 0 h 100"/>
                <a:gd name="T2" fmla="*/ 0 w 26"/>
                <a:gd name="T3" fmla="*/ 97 h 100"/>
                <a:gd name="T4" fmla="*/ 6 w 26"/>
                <a:gd name="T5" fmla="*/ 95 h 100"/>
                <a:gd name="T6" fmla="*/ 17 w 26"/>
                <a:gd name="T7" fmla="*/ 100 h 100"/>
                <a:gd name="T8" fmla="*/ 26 w 26"/>
                <a:gd name="T9" fmla="*/ 0 h 100"/>
                <a:gd name="T10" fmla="*/ 8 w 26"/>
                <a:gd name="T11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100">
                  <a:moveTo>
                    <a:pt x="8" y="0"/>
                  </a:moveTo>
                  <a:cubicBezTo>
                    <a:pt x="5" y="35"/>
                    <a:pt x="2" y="79"/>
                    <a:pt x="0" y="97"/>
                  </a:cubicBezTo>
                  <a:cubicBezTo>
                    <a:pt x="2" y="96"/>
                    <a:pt x="4" y="95"/>
                    <a:pt x="6" y="95"/>
                  </a:cubicBezTo>
                  <a:cubicBezTo>
                    <a:pt x="10" y="95"/>
                    <a:pt x="14" y="97"/>
                    <a:pt x="17" y="100"/>
                  </a:cubicBezTo>
                  <a:cubicBezTo>
                    <a:pt x="20" y="74"/>
                    <a:pt x="23" y="30"/>
                    <a:pt x="26" y="0"/>
                  </a:cubicBezTo>
                  <a:cubicBezTo>
                    <a:pt x="20" y="0"/>
                    <a:pt x="14" y="0"/>
                    <a:pt x="8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9">
              <a:extLst>
                <a:ext uri="{FF2B5EF4-FFF2-40B4-BE49-F238E27FC236}">
                  <a16:creationId xmlns:a16="http://schemas.microsoft.com/office/drawing/2014/main" id="{10F97B41-D329-6147-9940-329EE497C0E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4508" y="1430520"/>
              <a:ext cx="93599" cy="412488"/>
            </a:xfrm>
            <a:custGeom>
              <a:avLst/>
              <a:gdLst>
                <a:gd name="T0" fmla="*/ 18 w 53"/>
                <a:gd name="T1" fmla="*/ 11 h 232"/>
                <a:gd name="T2" fmla="*/ 0 w 53"/>
                <a:gd name="T3" fmla="*/ 38 h 232"/>
                <a:gd name="T4" fmla="*/ 15 w 53"/>
                <a:gd name="T5" fmla="*/ 60 h 232"/>
                <a:gd name="T6" fmla="*/ 21 w 53"/>
                <a:gd name="T7" fmla="*/ 63 h 232"/>
                <a:gd name="T8" fmla="*/ 5 w 53"/>
                <a:gd name="T9" fmla="*/ 227 h 232"/>
                <a:gd name="T10" fmla="*/ 10 w 53"/>
                <a:gd name="T11" fmla="*/ 232 h 232"/>
                <a:gd name="T12" fmla="*/ 15 w 53"/>
                <a:gd name="T13" fmla="*/ 228 h 232"/>
                <a:gd name="T14" fmla="*/ 31 w 53"/>
                <a:gd name="T15" fmla="*/ 65 h 232"/>
                <a:gd name="T16" fmla="*/ 21 w 53"/>
                <a:gd name="T17" fmla="*/ 52 h 232"/>
                <a:gd name="T18" fmla="*/ 10 w 53"/>
                <a:gd name="T19" fmla="*/ 38 h 232"/>
                <a:gd name="T20" fmla="*/ 24 w 53"/>
                <a:gd name="T21" fmla="*/ 19 h 232"/>
                <a:gd name="T22" fmla="*/ 53 w 53"/>
                <a:gd name="T23" fmla="*/ 10 h 232"/>
                <a:gd name="T24" fmla="*/ 53 w 53"/>
                <a:gd name="T25" fmla="*/ 0 h 232"/>
                <a:gd name="T26" fmla="*/ 18 w 53"/>
                <a:gd name="T27" fmla="*/ 1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3" h="232">
                  <a:moveTo>
                    <a:pt x="18" y="11"/>
                  </a:moveTo>
                  <a:cubicBezTo>
                    <a:pt x="8" y="19"/>
                    <a:pt x="0" y="28"/>
                    <a:pt x="0" y="38"/>
                  </a:cubicBezTo>
                  <a:cubicBezTo>
                    <a:pt x="0" y="49"/>
                    <a:pt x="9" y="55"/>
                    <a:pt x="15" y="60"/>
                  </a:cubicBezTo>
                  <a:cubicBezTo>
                    <a:pt x="18" y="62"/>
                    <a:pt x="21" y="63"/>
                    <a:pt x="21" y="63"/>
                  </a:cubicBezTo>
                  <a:cubicBezTo>
                    <a:pt x="20" y="70"/>
                    <a:pt x="5" y="226"/>
                    <a:pt x="5" y="227"/>
                  </a:cubicBezTo>
                  <a:cubicBezTo>
                    <a:pt x="5" y="230"/>
                    <a:pt x="7" y="232"/>
                    <a:pt x="10" y="232"/>
                  </a:cubicBezTo>
                  <a:cubicBezTo>
                    <a:pt x="12" y="232"/>
                    <a:pt x="15" y="230"/>
                    <a:pt x="15" y="228"/>
                  </a:cubicBezTo>
                  <a:cubicBezTo>
                    <a:pt x="15" y="227"/>
                    <a:pt x="29" y="72"/>
                    <a:pt x="31" y="65"/>
                  </a:cubicBezTo>
                  <a:cubicBezTo>
                    <a:pt x="31" y="59"/>
                    <a:pt x="27" y="56"/>
                    <a:pt x="21" y="52"/>
                  </a:cubicBezTo>
                  <a:cubicBezTo>
                    <a:pt x="16" y="48"/>
                    <a:pt x="10" y="44"/>
                    <a:pt x="10" y="38"/>
                  </a:cubicBezTo>
                  <a:cubicBezTo>
                    <a:pt x="10" y="32"/>
                    <a:pt x="16" y="25"/>
                    <a:pt x="24" y="19"/>
                  </a:cubicBezTo>
                  <a:cubicBezTo>
                    <a:pt x="32" y="14"/>
                    <a:pt x="43" y="10"/>
                    <a:pt x="53" y="1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41" y="0"/>
                    <a:pt x="28" y="5"/>
                    <a:pt x="18" y="11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10">
              <a:extLst>
                <a:ext uri="{FF2B5EF4-FFF2-40B4-BE49-F238E27FC236}">
                  <a16:creationId xmlns:a16="http://schemas.microsoft.com/office/drawing/2014/main" id="{7B0AF092-A1FB-0743-B876-14E9A6A2C1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8107" y="1430520"/>
              <a:ext cx="94687" cy="412488"/>
            </a:xfrm>
            <a:custGeom>
              <a:avLst/>
              <a:gdLst>
                <a:gd name="T0" fmla="*/ 38 w 53"/>
                <a:gd name="T1" fmla="*/ 60 h 232"/>
                <a:gd name="T2" fmla="*/ 53 w 53"/>
                <a:gd name="T3" fmla="*/ 38 h 232"/>
                <a:gd name="T4" fmla="*/ 36 w 53"/>
                <a:gd name="T5" fmla="*/ 11 h 232"/>
                <a:gd name="T6" fmla="*/ 0 w 53"/>
                <a:gd name="T7" fmla="*/ 0 h 232"/>
                <a:gd name="T8" fmla="*/ 0 w 53"/>
                <a:gd name="T9" fmla="*/ 10 h 232"/>
                <a:gd name="T10" fmla="*/ 30 w 53"/>
                <a:gd name="T11" fmla="*/ 19 h 232"/>
                <a:gd name="T12" fmla="*/ 44 w 53"/>
                <a:gd name="T13" fmla="*/ 38 h 232"/>
                <a:gd name="T14" fmla="*/ 33 w 53"/>
                <a:gd name="T15" fmla="*/ 52 h 232"/>
                <a:gd name="T16" fmla="*/ 23 w 53"/>
                <a:gd name="T17" fmla="*/ 65 h 232"/>
                <a:gd name="T18" fmla="*/ 39 w 53"/>
                <a:gd name="T19" fmla="*/ 228 h 232"/>
                <a:gd name="T20" fmla="*/ 44 w 53"/>
                <a:gd name="T21" fmla="*/ 232 h 232"/>
                <a:gd name="T22" fmla="*/ 48 w 53"/>
                <a:gd name="T23" fmla="*/ 227 h 232"/>
                <a:gd name="T24" fmla="*/ 33 w 53"/>
                <a:gd name="T25" fmla="*/ 63 h 232"/>
                <a:gd name="T26" fmla="*/ 38 w 53"/>
                <a:gd name="T27" fmla="*/ 6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3" h="232">
                  <a:moveTo>
                    <a:pt x="38" y="60"/>
                  </a:moveTo>
                  <a:cubicBezTo>
                    <a:pt x="45" y="55"/>
                    <a:pt x="53" y="49"/>
                    <a:pt x="53" y="38"/>
                  </a:cubicBezTo>
                  <a:cubicBezTo>
                    <a:pt x="53" y="28"/>
                    <a:pt x="46" y="19"/>
                    <a:pt x="36" y="11"/>
                  </a:cubicBezTo>
                  <a:cubicBezTo>
                    <a:pt x="26" y="5"/>
                    <a:pt x="13" y="0"/>
                    <a:pt x="0" y="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1" y="10"/>
                    <a:pt x="22" y="14"/>
                    <a:pt x="30" y="19"/>
                  </a:cubicBezTo>
                  <a:cubicBezTo>
                    <a:pt x="38" y="25"/>
                    <a:pt x="44" y="32"/>
                    <a:pt x="44" y="38"/>
                  </a:cubicBezTo>
                  <a:cubicBezTo>
                    <a:pt x="44" y="44"/>
                    <a:pt x="38" y="48"/>
                    <a:pt x="33" y="52"/>
                  </a:cubicBezTo>
                  <a:cubicBezTo>
                    <a:pt x="27" y="56"/>
                    <a:pt x="22" y="59"/>
                    <a:pt x="23" y="65"/>
                  </a:cubicBezTo>
                  <a:cubicBezTo>
                    <a:pt x="24" y="72"/>
                    <a:pt x="39" y="227"/>
                    <a:pt x="39" y="228"/>
                  </a:cubicBezTo>
                  <a:cubicBezTo>
                    <a:pt x="39" y="230"/>
                    <a:pt x="41" y="232"/>
                    <a:pt x="44" y="232"/>
                  </a:cubicBezTo>
                  <a:cubicBezTo>
                    <a:pt x="47" y="232"/>
                    <a:pt x="49" y="230"/>
                    <a:pt x="48" y="227"/>
                  </a:cubicBezTo>
                  <a:cubicBezTo>
                    <a:pt x="48" y="226"/>
                    <a:pt x="34" y="70"/>
                    <a:pt x="33" y="63"/>
                  </a:cubicBezTo>
                  <a:cubicBezTo>
                    <a:pt x="33" y="63"/>
                    <a:pt x="35" y="62"/>
                    <a:pt x="38" y="6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60" name="Group 128">
              <a:extLst>
                <a:ext uri="{FF2B5EF4-FFF2-40B4-BE49-F238E27FC236}">
                  <a16:creationId xmlns:a16="http://schemas.microsoft.com/office/drawing/2014/main" id="{0903A592-4715-094E-872F-028F4950580F}"/>
                </a:ext>
              </a:extLst>
            </p:cNvPr>
            <p:cNvGrpSpPr/>
            <p:nvPr/>
          </p:nvGrpSpPr>
          <p:grpSpPr>
            <a:xfrm>
              <a:off x="6082870" y="-1589163"/>
              <a:ext cx="28297" cy="3067570"/>
              <a:chOff x="6082870" y="-1589163"/>
              <a:chExt cx="28297" cy="3067570"/>
            </a:xfrm>
          </p:grpSpPr>
          <p:sp>
            <p:nvSpPr>
              <p:cNvPr id="63" name="Freeform 11">
                <a:extLst>
                  <a:ext uri="{FF2B5EF4-FFF2-40B4-BE49-F238E27FC236}">
                    <a16:creationId xmlns:a16="http://schemas.microsoft.com/office/drawing/2014/main" id="{406D4EBA-38C0-1D49-B7F5-D279FBC684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2870" y="149522"/>
                <a:ext cx="28297" cy="1328885"/>
              </a:xfrm>
              <a:custGeom>
                <a:avLst/>
                <a:gdLst>
                  <a:gd name="T0" fmla="*/ 16 w 16"/>
                  <a:gd name="T1" fmla="*/ 0 h 747"/>
                  <a:gd name="T2" fmla="*/ 16 w 16"/>
                  <a:gd name="T3" fmla="*/ 734 h 747"/>
                  <a:gd name="T4" fmla="*/ 0 w 16"/>
                  <a:gd name="T5" fmla="*/ 735 h 747"/>
                  <a:gd name="T6" fmla="*/ 0 w 16"/>
                  <a:gd name="T7" fmla="*/ 0 h 747"/>
                  <a:gd name="T8" fmla="*/ 16 w 16"/>
                  <a:gd name="T9" fmla="*/ 0 h 7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747">
                    <a:moveTo>
                      <a:pt x="16" y="0"/>
                    </a:moveTo>
                    <a:cubicBezTo>
                      <a:pt x="16" y="734"/>
                      <a:pt x="16" y="734"/>
                      <a:pt x="16" y="734"/>
                    </a:cubicBezTo>
                    <a:cubicBezTo>
                      <a:pt x="15" y="747"/>
                      <a:pt x="0" y="746"/>
                      <a:pt x="0" y="735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6" y="0"/>
                    </a:lnTo>
                    <a:close/>
                  </a:path>
                </a:pathLst>
              </a:custGeom>
              <a:solidFill>
                <a:schemeClr val="tx2">
                  <a:lumMod val="75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Rectangle 132">
                <a:extLst>
                  <a:ext uri="{FF2B5EF4-FFF2-40B4-BE49-F238E27FC236}">
                    <a16:creationId xmlns:a16="http://schemas.microsoft.com/office/drawing/2014/main" id="{B0B2FCBB-1368-CF40-8C69-C691B70B2291}"/>
                  </a:ext>
                </a:extLst>
              </p:cNvPr>
              <p:cNvSpPr/>
              <p:nvPr/>
            </p:nvSpPr>
            <p:spPr>
              <a:xfrm>
                <a:off x="6083735" y="-1589163"/>
                <a:ext cx="27432" cy="2743200"/>
              </a:xfrm>
              <a:prstGeom prst="rect">
                <a:avLst/>
              </a:prstGeom>
              <a:solidFill>
                <a:schemeClr val="tx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62" name="TextBox 130">
              <a:extLst>
                <a:ext uri="{FF2B5EF4-FFF2-40B4-BE49-F238E27FC236}">
                  <a16:creationId xmlns:a16="http://schemas.microsoft.com/office/drawing/2014/main" id="{4E153958-C168-444C-B3AD-86F3E84BA09D}"/>
                </a:ext>
              </a:extLst>
            </p:cNvPr>
            <p:cNvSpPr txBox="1"/>
            <p:nvPr/>
          </p:nvSpPr>
          <p:spPr>
            <a:xfrm>
              <a:off x="5523370" y="2759404"/>
              <a:ext cx="1148384" cy="40011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2000" b="1">
                  <a:solidFill>
                    <a:schemeClr val="tx2"/>
                  </a:solidFill>
                  <a:latin typeface="+mj-lt"/>
                </a:rPr>
                <a:t>03</a:t>
              </a:r>
            </a:p>
          </p:txBody>
        </p:sp>
      </p:grpSp>
      <p:grpSp>
        <p:nvGrpSpPr>
          <p:cNvPr id="65" name="Group 133">
            <a:extLst>
              <a:ext uri="{FF2B5EF4-FFF2-40B4-BE49-F238E27FC236}">
                <a16:creationId xmlns:a16="http://schemas.microsoft.com/office/drawing/2014/main" id="{890B14A1-9531-C64A-87AB-DE16A110F819}"/>
              </a:ext>
            </a:extLst>
          </p:cNvPr>
          <p:cNvGrpSpPr/>
          <p:nvPr/>
        </p:nvGrpSpPr>
        <p:grpSpPr>
          <a:xfrm>
            <a:off x="8628207" y="-1438940"/>
            <a:ext cx="1642332" cy="4991787"/>
            <a:chOff x="9528326" y="-1589163"/>
            <a:chExt cx="1642332" cy="4991787"/>
          </a:xfrm>
        </p:grpSpPr>
        <p:sp>
          <p:nvSpPr>
            <p:cNvPr id="66" name="Oval 5">
              <a:extLst>
                <a:ext uri="{FF2B5EF4-FFF2-40B4-BE49-F238E27FC236}">
                  <a16:creationId xmlns:a16="http://schemas.microsoft.com/office/drawing/2014/main" id="{F8824293-0F94-214D-AD11-5E85E90B5D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28326" y="1761380"/>
              <a:ext cx="1642332" cy="1641244"/>
            </a:xfrm>
            <a:prstGeom prst="ellipse">
              <a:avLst/>
            </a:prstGeom>
            <a:solidFill>
              <a:srgbClr val="FFFFFF"/>
            </a:solidFill>
            <a:ln w="61913" cap="flat">
              <a:solidFill>
                <a:schemeClr val="accent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6">
              <a:extLst>
                <a:ext uri="{FF2B5EF4-FFF2-40B4-BE49-F238E27FC236}">
                  <a16:creationId xmlns:a16="http://schemas.microsoft.com/office/drawing/2014/main" id="{8A36C84F-5697-AD45-ACC0-C5FD4A54ED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81341" y="1654722"/>
              <a:ext cx="338479" cy="199170"/>
            </a:xfrm>
            <a:custGeom>
              <a:avLst/>
              <a:gdLst>
                <a:gd name="T0" fmla="*/ 9 w 190"/>
                <a:gd name="T1" fmla="*/ 0 h 112"/>
                <a:gd name="T2" fmla="*/ 180 w 190"/>
                <a:gd name="T3" fmla="*/ 0 h 112"/>
                <a:gd name="T4" fmla="*/ 190 w 190"/>
                <a:gd name="T5" fmla="*/ 10 h 112"/>
                <a:gd name="T6" fmla="*/ 190 w 190"/>
                <a:gd name="T7" fmla="*/ 103 h 112"/>
                <a:gd name="T8" fmla="*/ 180 w 190"/>
                <a:gd name="T9" fmla="*/ 112 h 112"/>
                <a:gd name="T10" fmla="*/ 156 w 190"/>
                <a:gd name="T11" fmla="*/ 112 h 112"/>
                <a:gd name="T12" fmla="*/ 140 w 190"/>
                <a:gd name="T13" fmla="*/ 95 h 112"/>
                <a:gd name="T14" fmla="*/ 123 w 190"/>
                <a:gd name="T15" fmla="*/ 112 h 112"/>
                <a:gd name="T16" fmla="*/ 66 w 190"/>
                <a:gd name="T17" fmla="*/ 112 h 112"/>
                <a:gd name="T18" fmla="*/ 50 w 190"/>
                <a:gd name="T19" fmla="*/ 95 h 112"/>
                <a:gd name="T20" fmla="*/ 33 w 190"/>
                <a:gd name="T21" fmla="*/ 112 h 112"/>
                <a:gd name="T22" fmla="*/ 9 w 190"/>
                <a:gd name="T23" fmla="*/ 112 h 112"/>
                <a:gd name="T24" fmla="*/ 0 w 190"/>
                <a:gd name="T25" fmla="*/ 103 h 112"/>
                <a:gd name="T26" fmla="*/ 0 w 190"/>
                <a:gd name="T27" fmla="*/ 10 h 112"/>
                <a:gd name="T28" fmla="*/ 9 w 190"/>
                <a:gd name="T29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0" h="112">
                  <a:moveTo>
                    <a:pt x="9" y="0"/>
                  </a:moveTo>
                  <a:cubicBezTo>
                    <a:pt x="66" y="0"/>
                    <a:pt x="123" y="0"/>
                    <a:pt x="180" y="0"/>
                  </a:cubicBezTo>
                  <a:cubicBezTo>
                    <a:pt x="186" y="0"/>
                    <a:pt x="190" y="4"/>
                    <a:pt x="190" y="10"/>
                  </a:cubicBezTo>
                  <a:cubicBezTo>
                    <a:pt x="190" y="41"/>
                    <a:pt x="190" y="72"/>
                    <a:pt x="190" y="103"/>
                  </a:cubicBezTo>
                  <a:cubicBezTo>
                    <a:pt x="190" y="108"/>
                    <a:pt x="186" y="112"/>
                    <a:pt x="180" y="112"/>
                  </a:cubicBezTo>
                  <a:cubicBezTo>
                    <a:pt x="172" y="112"/>
                    <a:pt x="164" y="112"/>
                    <a:pt x="156" y="112"/>
                  </a:cubicBezTo>
                  <a:cubicBezTo>
                    <a:pt x="156" y="103"/>
                    <a:pt x="149" y="95"/>
                    <a:pt x="140" y="95"/>
                  </a:cubicBezTo>
                  <a:cubicBezTo>
                    <a:pt x="131" y="95"/>
                    <a:pt x="123" y="103"/>
                    <a:pt x="123" y="112"/>
                  </a:cubicBezTo>
                  <a:cubicBezTo>
                    <a:pt x="104" y="112"/>
                    <a:pt x="85" y="112"/>
                    <a:pt x="66" y="112"/>
                  </a:cubicBezTo>
                  <a:cubicBezTo>
                    <a:pt x="66" y="103"/>
                    <a:pt x="59" y="95"/>
                    <a:pt x="50" y="95"/>
                  </a:cubicBezTo>
                  <a:cubicBezTo>
                    <a:pt x="41" y="95"/>
                    <a:pt x="33" y="103"/>
                    <a:pt x="33" y="112"/>
                  </a:cubicBezTo>
                  <a:cubicBezTo>
                    <a:pt x="25" y="112"/>
                    <a:pt x="17" y="112"/>
                    <a:pt x="9" y="112"/>
                  </a:cubicBezTo>
                  <a:cubicBezTo>
                    <a:pt x="4" y="112"/>
                    <a:pt x="0" y="108"/>
                    <a:pt x="0" y="103"/>
                  </a:cubicBezTo>
                  <a:cubicBezTo>
                    <a:pt x="0" y="72"/>
                    <a:pt x="0" y="41"/>
                    <a:pt x="0" y="10"/>
                  </a:cubicBezTo>
                  <a:cubicBezTo>
                    <a:pt x="0" y="4"/>
                    <a:pt x="4" y="0"/>
                    <a:pt x="9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7">
              <a:extLst>
                <a:ext uri="{FF2B5EF4-FFF2-40B4-BE49-F238E27FC236}">
                  <a16:creationId xmlns:a16="http://schemas.microsoft.com/office/drawing/2014/main" id="{0708A1E6-6F85-4249-8D72-3EF49FA45A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4658" y="1654721"/>
              <a:ext cx="47888" cy="176314"/>
            </a:xfrm>
            <a:custGeom>
              <a:avLst/>
              <a:gdLst>
                <a:gd name="T0" fmla="*/ 0 w 27"/>
                <a:gd name="T1" fmla="*/ 0 h 99"/>
                <a:gd name="T2" fmla="*/ 9 w 27"/>
                <a:gd name="T3" fmla="*/ 99 h 99"/>
                <a:gd name="T4" fmla="*/ 20 w 27"/>
                <a:gd name="T5" fmla="*/ 95 h 99"/>
                <a:gd name="T6" fmla="*/ 27 w 27"/>
                <a:gd name="T7" fmla="*/ 97 h 99"/>
                <a:gd name="T8" fmla="*/ 18 w 27"/>
                <a:gd name="T9" fmla="*/ 0 h 99"/>
                <a:gd name="T10" fmla="*/ 0 w 27"/>
                <a:gd name="T11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99">
                  <a:moveTo>
                    <a:pt x="0" y="0"/>
                  </a:moveTo>
                  <a:cubicBezTo>
                    <a:pt x="4" y="39"/>
                    <a:pt x="8" y="87"/>
                    <a:pt x="9" y="99"/>
                  </a:cubicBezTo>
                  <a:cubicBezTo>
                    <a:pt x="12" y="97"/>
                    <a:pt x="16" y="95"/>
                    <a:pt x="20" y="95"/>
                  </a:cubicBezTo>
                  <a:cubicBezTo>
                    <a:pt x="22" y="95"/>
                    <a:pt x="25" y="96"/>
                    <a:pt x="27" y="97"/>
                  </a:cubicBezTo>
                  <a:cubicBezTo>
                    <a:pt x="24" y="72"/>
                    <a:pt x="21" y="30"/>
                    <a:pt x="18" y="0"/>
                  </a:cubicBezTo>
                  <a:cubicBezTo>
                    <a:pt x="12" y="0"/>
                    <a:pt x="6" y="0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8">
              <a:extLst>
                <a:ext uri="{FF2B5EF4-FFF2-40B4-BE49-F238E27FC236}">
                  <a16:creationId xmlns:a16="http://schemas.microsoft.com/office/drawing/2014/main" id="{E0381D79-FD40-9142-B1E8-A078352E42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59703" y="1654721"/>
              <a:ext cx="46800" cy="177403"/>
            </a:xfrm>
            <a:custGeom>
              <a:avLst/>
              <a:gdLst>
                <a:gd name="T0" fmla="*/ 8 w 26"/>
                <a:gd name="T1" fmla="*/ 0 h 100"/>
                <a:gd name="T2" fmla="*/ 0 w 26"/>
                <a:gd name="T3" fmla="*/ 97 h 100"/>
                <a:gd name="T4" fmla="*/ 6 w 26"/>
                <a:gd name="T5" fmla="*/ 95 h 100"/>
                <a:gd name="T6" fmla="*/ 17 w 26"/>
                <a:gd name="T7" fmla="*/ 100 h 100"/>
                <a:gd name="T8" fmla="*/ 26 w 26"/>
                <a:gd name="T9" fmla="*/ 0 h 100"/>
                <a:gd name="T10" fmla="*/ 8 w 26"/>
                <a:gd name="T11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100">
                  <a:moveTo>
                    <a:pt x="8" y="0"/>
                  </a:moveTo>
                  <a:cubicBezTo>
                    <a:pt x="5" y="35"/>
                    <a:pt x="2" y="79"/>
                    <a:pt x="0" y="97"/>
                  </a:cubicBezTo>
                  <a:cubicBezTo>
                    <a:pt x="2" y="96"/>
                    <a:pt x="4" y="95"/>
                    <a:pt x="6" y="95"/>
                  </a:cubicBezTo>
                  <a:cubicBezTo>
                    <a:pt x="10" y="95"/>
                    <a:pt x="14" y="97"/>
                    <a:pt x="17" y="100"/>
                  </a:cubicBezTo>
                  <a:cubicBezTo>
                    <a:pt x="20" y="74"/>
                    <a:pt x="23" y="30"/>
                    <a:pt x="26" y="0"/>
                  </a:cubicBezTo>
                  <a:cubicBezTo>
                    <a:pt x="20" y="0"/>
                    <a:pt x="14" y="0"/>
                    <a:pt x="8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9">
              <a:extLst>
                <a:ext uri="{FF2B5EF4-FFF2-40B4-BE49-F238E27FC236}">
                  <a16:creationId xmlns:a16="http://schemas.microsoft.com/office/drawing/2014/main" id="{146263B2-B3EB-6342-9F58-29E473C7C6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56438" y="1430520"/>
              <a:ext cx="93599" cy="412488"/>
            </a:xfrm>
            <a:custGeom>
              <a:avLst/>
              <a:gdLst>
                <a:gd name="T0" fmla="*/ 18 w 53"/>
                <a:gd name="T1" fmla="*/ 11 h 232"/>
                <a:gd name="T2" fmla="*/ 0 w 53"/>
                <a:gd name="T3" fmla="*/ 38 h 232"/>
                <a:gd name="T4" fmla="*/ 15 w 53"/>
                <a:gd name="T5" fmla="*/ 60 h 232"/>
                <a:gd name="T6" fmla="*/ 21 w 53"/>
                <a:gd name="T7" fmla="*/ 63 h 232"/>
                <a:gd name="T8" fmla="*/ 5 w 53"/>
                <a:gd name="T9" fmla="*/ 227 h 232"/>
                <a:gd name="T10" fmla="*/ 10 w 53"/>
                <a:gd name="T11" fmla="*/ 232 h 232"/>
                <a:gd name="T12" fmla="*/ 15 w 53"/>
                <a:gd name="T13" fmla="*/ 228 h 232"/>
                <a:gd name="T14" fmla="*/ 31 w 53"/>
                <a:gd name="T15" fmla="*/ 65 h 232"/>
                <a:gd name="T16" fmla="*/ 21 w 53"/>
                <a:gd name="T17" fmla="*/ 52 h 232"/>
                <a:gd name="T18" fmla="*/ 10 w 53"/>
                <a:gd name="T19" fmla="*/ 38 h 232"/>
                <a:gd name="T20" fmla="*/ 24 w 53"/>
                <a:gd name="T21" fmla="*/ 19 h 232"/>
                <a:gd name="T22" fmla="*/ 53 w 53"/>
                <a:gd name="T23" fmla="*/ 10 h 232"/>
                <a:gd name="T24" fmla="*/ 53 w 53"/>
                <a:gd name="T25" fmla="*/ 0 h 232"/>
                <a:gd name="T26" fmla="*/ 18 w 53"/>
                <a:gd name="T27" fmla="*/ 1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3" h="232">
                  <a:moveTo>
                    <a:pt x="18" y="11"/>
                  </a:moveTo>
                  <a:cubicBezTo>
                    <a:pt x="8" y="19"/>
                    <a:pt x="0" y="28"/>
                    <a:pt x="0" y="38"/>
                  </a:cubicBezTo>
                  <a:cubicBezTo>
                    <a:pt x="0" y="49"/>
                    <a:pt x="9" y="55"/>
                    <a:pt x="15" y="60"/>
                  </a:cubicBezTo>
                  <a:cubicBezTo>
                    <a:pt x="18" y="62"/>
                    <a:pt x="21" y="63"/>
                    <a:pt x="21" y="63"/>
                  </a:cubicBezTo>
                  <a:cubicBezTo>
                    <a:pt x="20" y="70"/>
                    <a:pt x="5" y="226"/>
                    <a:pt x="5" y="227"/>
                  </a:cubicBezTo>
                  <a:cubicBezTo>
                    <a:pt x="5" y="230"/>
                    <a:pt x="7" y="232"/>
                    <a:pt x="10" y="232"/>
                  </a:cubicBezTo>
                  <a:cubicBezTo>
                    <a:pt x="12" y="232"/>
                    <a:pt x="15" y="230"/>
                    <a:pt x="15" y="228"/>
                  </a:cubicBezTo>
                  <a:cubicBezTo>
                    <a:pt x="15" y="227"/>
                    <a:pt x="29" y="72"/>
                    <a:pt x="31" y="65"/>
                  </a:cubicBezTo>
                  <a:cubicBezTo>
                    <a:pt x="31" y="59"/>
                    <a:pt x="27" y="56"/>
                    <a:pt x="21" y="52"/>
                  </a:cubicBezTo>
                  <a:cubicBezTo>
                    <a:pt x="16" y="48"/>
                    <a:pt x="10" y="44"/>
                    <a:pt x="10" y="38"/>
                  </a:cubicBezTo>
                  <a:cubicBezTo>
                    <a:pt x="10" y="32"/>
                    <a:pt x="16" y="25"/>
                    <a:pt x="24" y="19"/>
                  </a:cubicBezTo>
                  <a:cubicBezTo>
                    <a:pt x="32" y="14"/>
                    <a:pt x="43" y="10"/>
                    <a:pt x="53" y="1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41" y="0"/>
                    <a:pt x="28" y="5"/>
                    <a:pt x="18" y="11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10">
              <a:extLst>
                <a:ext uri="{FF2B5EF4-FFF2-40B4-BE49-F238E27FC236}">
                  <a16:creationId xmlns:a16="http://schemas.microsoft.com/office/drawing/2014/main" id="{54B5E3EA-8D22-E04A-AC85-55A6A52C4A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50037" y="1430520"/>
              <a:ext cx="94687" cy="412488"/>
            </a:xfrm>
            <a:custGeom>
              <a:avLst/>
              <a:gdLst>
                <a:gd name="T0" fmla="*/ 38 w 53"/>
                <a:gd name="T1" fmla="*/ 60 h 232"/>
                <a:gd name="T2" fmla="*/ 53 w 53"/>
                <a:gd name="T3" fmla="*/ 38 h 232"/>
                <a:gd name="T4" fmla="*/ 36 w 53"/>
                <a:gd name="T5" fmla="*/ 11 h 232"/>
                <a:gd name="T6" fmla="*/ 0 w 53"/>
                <a:gd name="T7" fmla="*/ 0 h 232"/>
                <a:gd name="T8" fmla="*/ 0 w 53"/>
                <a:gd name="T9" fmla="*/ 10 h 232"/>
                <a:gd name="T10" fmla="*/ 30 w 53"/>
                <a:gd name="T11" fmla="*/ 19 h 232"/>
                <a:gd name="T12" fmla="*/ 44 w 53"/>
                <a:gd name="T13" fmla="*/ 38 h 232"/>
                <a:gd name="T14" fmla="*/ 33 w 53"/>
                <a:gd name="T15" fmla="*/ 52 h 232"/>
                <a:gd name="T16" fmla="*/ 23 w 53"/>
                <a:gd name="T17" fmla="*/ 65 h 232"/>
                <a:gd name="T18" fmla="*/ 39 w 53"/>
                <a:gd name="T19" fmla="*/ 228 h 232"/>
                <a:gd name="T20" fmla="*/ 44 w 53"/>
                <a:gd name="T21" fmla="*/ 232 h 232"/>
                <a:gd name="T22" fmla="*/ 48 w 53"/>
                <a:gd name="T23" fmla="*/ 227 h 232"/>
                <a:gd name="T24" fmla="*/ 33 w 53"/>
                <a:gd name="T25" fmla="*/ 63 h 232"/>
                <a:gd name="T26" fmla="*/ 38 w 53"/>
                <a:gd name="T27" fmla="*/ 6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3" h="232">
                  <a:moveTo>
                    <a:pt x="38" y="60"/>
                  </a:moveTo>
                  <a:cubicBezTo>
                    <a:pt x="45" y="55"/>
                    <a:pt x="53" y="49"/>
                    <a:pt x="53" y="38"/>
                  </a:cubicBezTo>
                  <a:cubicBezTo>
                    <a:pt x="53" y="28"/>
                    <a:pt x="46" y="19"/>
                    <a:pt x="36" y="11"/>
                  </a:cubicBezTo>
                  <a:cubicBezTo>
                    <a:pt x="26" y="5"/>
                    <a:pt x="13" y="0"/>
                    <a:pt x="0" y="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1" y="10"/>
                    <a:pt x="22" y="14"/>
                    <a:pt x="30" y="19"/>
                  </a:cubicBezTo>
                  <a:cubicBezTo>
                    <a:pt x="38" y="25"/>
                    <a:pt x="44" y="32"/>
                    <a:pt x="44" y="38"/>
                  </a:cubicBezTo>
                  <a:cubicBezTo>
                    <a:pt x="44" y="44"/>
                    <a:pt x="38" y="48"/>
                    <a:pt x="33" y="52"/>
                  </a:cubicBezTo>
                  <a:cubicBezTo>
                    <a:pt x="27" y="56"/>
                    <a:pt x="22" y="59"/>
                    <a:pt x="23" y="65"/>
                  </a:cubicBezTo>
                  <a:cubicBezTo>
                    <a:pt x="24" y="72"/>
                    <a:pt x="39" y="227"/>
                    <a:pt x="39" y="228"/>
                  </a:cubicBezTo>
                  <a:cubicBezTo>
                    <a:pt x="39" y="230"/>
                    <a:pt x="41" y="232"/>
                    <a:pt x="44" y="232"/>
                  </a:cubicBezTo>
                  <a:cubicBezTo>
                    <a:pt x="47" y="232"/>
                    <a:pt x="49" y="230"/>
                    <a:pt x="48" y="227"/>
                  </a:cubicBezTo>
                  <a:cubicBezTo>
                    <a:pt x="48" y="226"/>
                    <a:pt x="34" y="70"/>
                    <a:pt x="33" y="63"/>
                  </a:cubicBezTo>
                  <a:cubicBezTo>
                    <a:pt x="33" y="63"/>
                    <a:pt x="35" y="62"/>
                    <a:pt x="38" y="6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72" name="Group 140">
              <a:extLst>
                <a:ext uri="{FF2B5EF4-FFF2-40B4-BE49-F238E27FC236}">
                  <a16:creationId xmlns:a16="http://schemas.microsoft.com/office/drawing/2014/main" id="{BF6E3C5C-C7DB-1C47-BA66-504A5DDDDD8D}"/>
                </a:ext>
              </a:extLst>
            </p:cNvPr>
            <p:cNvGrpSpPr/>
            <p:nvPr/>
          </p:nvGrpSpPr>
          <p:grpSpPr>
            <a:xfrm>
              <a:off x="10334800" y="-1589163"/>
              <a:ext cx="28297" cy="3067570"/>
              <a:chOff x="10334800" y="-1589163"/>
              <a:chExt cx="28297" cy="3067570"/>
            </a:xfrm>
          </p:grpSpPr>
          <p:sp>
            <p:nvSpPr>
              <p:cNvPr id="75" name="Freeform 11">
                <a:extLst>
                  <a:ext uri="{FF2B5EF4-FFF2-40B4-BE49-F238E27FC236}">
                    <a16:creationId xmlns:a16="http://schemas.microsoft.com/office/drawing/2014/main" id="{23EE3C13-1B8D-0A4C-8502-A419683225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34800" y="149522"/>
                <a:ext cx="28297" cy="1328885"/>
              </a:xfrm>
              <a:custGeom>
                <a:avLst/>
                <a:gdLst>
                  <a:gd name="T0" fmla="*/ 16 w 16"/>
                  <a:gd name="T1" fmla="*/ 0 h 747"/>
                  <a:gd name="T2" fmla="*/ 16 w 16"/>
                  <a:gd name="T3" fmla="*/ 734 h 747"/>
                  <a:gd name="T4" fmla="*/ 0 w 16"/>
                  <a:gd name="T5" fmla="*/ 735 h 747"/>
                  <a:gd name="T6" fmla="*/ 0 w 16"/>
                  <a:gd name="T7" fmla="*/ 0 h 747"/>
                  <a:gd name="T8" fmla="*/ 16 w 16"/>
                  <a:gd name="T9" fmla="*/ 0 h 7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747">
                    <a:moveTo>
                      <a:pt x="16" y="0"/>
                    </a:moveTo>
                    <a:cubicBezTo>
                      <a:pt x="16" y="734"/>
                      <a:pt x="16" y="734"/>
                      <a:pt x="16" y="734"/>
                    </a:cubicBezTo>
                    <a:cubicBezTo>
                      <a:pt x="15" y="747"/>
                      <a:pt x="0" y="746"/>
                      <a:pt x="0" y="735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6" y="0"/>
                    </a:lnTo>
                    <a:close/>
                  </a:path>
                </a:pathLst>
              </a:custGeom>
              <a:solidFill>
                <a:schemeClr val="tx2">
                  <a:lumMod val="75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144">
                <a:extLst>
                  <a:ext uri="{FF2B5EF4-FFF2-40B4-BE49-F238E27FC236}">
                    <a16:creationId xmlns:a16="http://schemas.microsoft.com/office/drawing/2014/main" id="{181488FB-61EF-764D-88A9-1EA93BD38C10}"/>
                  </a:ext>
                </a:extLst>
              </p:cNvPr>
              <p:cNvSpPr/>
              <p:nvPr/>
            </p:nvSpPr>
            <p:spPr>
              <a:xfrm>
                <a:off x="10335665" y="-1589163"/>
                <a:ext cx="27432" cy="2743200"/>
              </a:xfrm>
              <a:prstGeom prst="rect">
                <a:avLst/>
              </a:prstGeom>
              <a:solidFill>
                <a:schemeClr val="tx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73" name="Freeform 167">
              <a:extLst>
                <a:ext uri="{FF2B5EF4-FFF2-40B4-BE49-F238E27FC236}">
                  <a16:creationId xmlns:a16="http://schemas.microsoft.com/office/drawing/2014/main" id="{08AB1F22-6A56-A743-89E3-DB339E6E21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95096" y="2086934"/>
              <a:ext cx="508792" cy="513105"/>
            </a:xfrm>
            <a:custGeom>
              <a:avLst/>
              <a:gdLst>
                <a:gd name="T0" fmla="*/ 79322 w 418"/>
                <a:gd name="T1" fmla="*/ 0 h 417"/>
                <a:gd name="T2" fmla="*/ 79322 w 418"/>
                <a:gd name="T3" fmla="*/ 0 h 417"/>
                <a:gd name="T4" fmla="*/ 0 w 418"/>
                <a:gd name="T5" fmla="*/ 79733 h 417"/>
                <a:gd name="T6" fmla="*/ 79322 w 418"/>
                <a:gd name="T7" fmla="*/ 79733 h 417"/>
                <a:gd name="T8" fmla="*/ 79322 w 418"/>
                <a:gd name="T9" fmla="*/ 0 h 417"/>
                <a:gd name="T10" fmla="*/ 103074 w 418"/>
                <a:gd name="T11" fmla="*/ 0 h 417"/>
                <a:gd name="T12" fmla="*/ 103074 w 418"/>
                <a:gd name="T13" fmla="*/ 0 h 417"/>
                <a:gd name="T14" fmla="*/ 103074 w 418"/>
                <a:gd name="T15" fmla="*/ 91965 h 417"/>
                <a:gd name="T16" fmla="*/ 91422 w 418"/>
                <a:gd name="T17" fmla="*/ 103744 h 417"/>
                <a:gd name="T18" fmla="*/ 0 w 418"/>
                <a:gd name="T19" fmla="*/ 103744 h 417"/>
                <a:gd name="T20" fmla="*/ 91422 w 418"/>
                <a:gd name="T21" fmla="*/ 188460 h 417"/>
                <a:gd name="T22" fmla="*/ 186877 w 418"/>
                <a:gd name="T23" fmla="*/ 91965 h 417"/>
                <a:gd name="T24" fmla="*/ 103074 w 418"/>
                <a:gd name="T25" fmla="*/ 0 h 41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18" h="417">
                  <a:moveTo>
                    <a:pt x="177" y="0"/>
                  </a:moveTo>
                  <a:lnTo>
                    <a:pt x="177" y="0"/>
                  </a:lnTo>
                  <a:cubicBezTo>
                    <a:pt x="80" y="9"/>
                    <a:pt x="9" y="88"/>
                    <a:pt x="0" y="176"/>
                  </a:cubicBezTo>
                  <a:cubicBezTo>
                    <a:pt x="177" y="176"/>
                    <a:pt x="177" y="176"/>
                    <a:pt x="177" y="176"/>
                  </a:cubicBezTo>
                  <a:lnTo>
                    <a:pt x="177" y="0"/>
                  </a:lnTo>
                  <a:close/>
                  <a:moveTo>
                    <a:pt x="230" y="0"/>
                  </a:moveTo>
                  <a:lnTo>
                    <a:pt x="230" y="0"/>
                  </a:lnTo>
                  <a:cubicBezTo>
                    <a:pt x="230" y="203"/>
                    <a:pt x="230" y="203"/>
                    <a:pt x="230" y="203"/>
                  </a:cubicBezTo>
                  <a:cubicBezTo>
                    <a:pt x="230" y="221"/>
                    <a:pt x="222" y="229"/>
                    <a:pt x="204" y="229"/>
                  </a:cubicBezTo>
                  <a:cubicBezTo>
                    <a:pt x="0" y="229"/>
                    <a:pt x="0" y="229"/>
                    <a:pt x="0" y="229"/>
                  </a:cubicBezTo>
                  <a:cubicBezTo>
                    <a:pt x="9" y="336"/>
                    <a:pt x="98" y="416"/>
                    <a:pt x="204" y="416"/>
                  </a:cubicBezTo>
                  <a:cubicBezTo>
                    <a:pt x="319" y="416"/>
                    <a:pt x="417" y="319"/>
                    <a:pt x="417" y="203"/>
                  </a:cubicBezTo>
                  <a:cubicBezTo>
                    <a:pt x="417" y="97"/>
                    <a:pt x="337" y="9"/>
                    <a:pt x="230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/>
            <a:extLst/>
          </p:spPr>
          <p:txBody>
            <a:bodyPr wrap="none" lIns="34291" tIns="17145" rIns="34291" bIns="17145" anchor="ctr"/>
            <a:lstStyle/>
            <a:p>
              <a:endParaRPr lang="en-US"/>
            </a:p>
          </p:txBody>
        </p:sp>
        <p:sp>
          <p:nvSpPr>
            <p:cNvPr id="74" name="TextBox 142">
              <a:extLst>
                <a:ext uri="{FF2B5EF4-FFF2-40B4-BE49-F238E27FC236}">
                  <a16:creationId xmlns:a16="http://schemas.microsoft.com/office/drawing/2014/main" id="{C11FE53A-4648-F94D-AB5A-924DD6436C5B}"/>
                </a:ext>
              </a:extLst>
            </p:cNvPr>
            <p:cNvSpPr txBox="1"/>
            <p:nvPr/>
          </p:nvSpPr>
          <p:spPr>
            <a:xfrm>
              <a:off x="9722691" y="2759404"/>
              <a:ext cx="1253602" cy="40011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2000" b="1">
                  <a:solidFill>
                    <a:schemeClr val="tx2"/>
                  </a:solidFill>
                  <a:latin typeface="+mj-lt"/>
                </a:rPr>
                <a:t>05</a:t>
              </a:r>
            </a:p>
          </p:txBody>
        </p:sp>
      </p:grpSp>
      <p:grpSp>
        <p:nvGrpSpPr>
          <p:cNvPr id="78" name="Group 133">
            <a:extLst>
              <a:ext uri="{FF2B5EF4-FFF2-40B4-BE49-F238E27FC236}">
                <a16:creationId xmlns:a16="http://schemas.microsoft.com/office/drawing/2014/main" id="{F5116E4A-E808-054D-B869-9845049F0EE4}"/>
              </a:ext>
            </a:extLst>
          </p:cNvPr>
          <p:cNvGrpSpPr/>
          <p:nvPr/>
        </p:nvGrpSpPr>
        <p:grpSpPr>
          <a:xfrm>
            <a:off x="10538525" y="866775"/>
            <a:ext cx="1642332" cy="4040138"/>
            <a:chOff x="9528326" y="-637514"/>
            <a:chExt cx="1642332" cy="4040138"/>
          </a:xfrm>
        </p:grpSpPr>
        <p:sp>
          <p:nvSpPr>
            <p:cNvPr id="79" name="Oval 5">
              <a:extLst>
                <a:ext uri="{FF2B5EF4-FFF2-40B4-BE49-F238E27FC236}">
                  <a16:creationId xmlns:a16="http://schemas.microsoft.com/office/drawing/2014/main" id="{1FB1E7AB-9E38-1945-9497-1D7DEB1DB8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28326" y="1761380"/>
              <a:ext cx="1642332" cy="1641244"/>
            </a:xfrm>
            <a:prstGeom prst="ellipse">
              <a:avLst/>
            </a:prstGeom>
            <a:solidFill>
              <a:srgbClr val="FFFFFF"/>
            </a:solidFill>
            <a:ln w="61913" cap="flat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6">
              <a:extLst>
                <a:ext uri="{FF2B5EF4-FFF2-40B4-BE49-F238E27FC236}">
                  <a16:creationId xmlns:a16="http://schemas.microsoft.com/office/drawing/2014/main" id="{93FB459C-0B1F-E34F-AE08-DCFD342C20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81341" y="1654722"/>
              <a:ext cx="338479" cy="199170"/>
            </a:xfrm>
            <a:custGeom>
              <a:avLst/>
              <a:gdLst>
                <a:gd name="T0" fmla="*/ 9 w 190"/>
                <a:gd name="T1" fmla="*/ 0 h 112"/>
                <a:gd name="T2" fmla="*/ 180 w 190"/>
                <a:gd name="T3" fmla="*/ 0 h 112"/>
                <a:gd name="T4" fmla="*/ 190 w 190"/>
                <a:gd name="T5" fmla="*/ 10 h 112"/>
                <a:gd name="T6" fmla="*/ 190 w 190"/>
                <a:gd name="T7" fmla="*/ 103 h 112"/>
                <a:gd name="T8" fmla="*/ 180 w 190"/>
                <a:gd name="T9" fmla="*/ 112 h 112"/>
                <a:gd name="T10" fmla="*/ 156 w 190"/>
                <a:gd name="T11" fmla="*/ 112 h 112"/>
                <a:gd name="T12" fmla="*/ 140 w 190"/>
                <a:gd name="T13" fmla="*/ 95 h 112"/>
                <a:gd name="T14" fmla="*/ 123 w 190"/>
                <a:gd name="T15" fmla="*/ 112 h 112"/>
                <a:gd name="T16" fmla="*/ 66 w 190"/>
                <a:gd name="T17" fmla="*/ 112 h 112"/>
                <a:gd name="T18" fmla="*/ 50 w 190"/>
                <a:gd name="T19" fmla="*/ 95 h 112"/>
                <a:gd name="T20" fmla="*/ 33 w 190"/>
                <a:gd name="T21" fmla="*/ 112 h 112"/>
                <a:gd name="T22" fmla="*/ 9 w 190"/>
                <a:gd name="T23" fmla="*/ 112 h 112"/>
                <a:gd name="T24" fmla="*/ 0 w 190"/>
                <a:gd name="T25" fmla="*/ 103 h 112"/>
                <a:gd name="T26" fmla="*/ 0 w 190"/>
                <a:gd name="T27" fmla="*/ 10 h 112"/>
                <a:gd name="T28" fmla="*/ 9 w 190"/>
                <a:gd name="T29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0" h="112">
                  <a:moveTo>
                    <a:pt x="9" y="0"/>
                  </a:moveTo>
                  <a:cubicBezTo>
                    <a:pt x="66" y="0"/>
                    <a:pt x="123" y="0"/>
                    <a:pt x="180" y="0"/>
                  </a:cubicBezTo>
                  <a:cubicBezTo>
                    <a:pt x="186" y="0"/>
                    <a:pt x="190" y="4"/>
                    <a:pt x="190" y="10"/>
                  </a:cubicBezTo>
                  <a:cubicBezTo>
                    <a:pt x="190" y="41"/>
                    <a:pt x="190" y="72"/>
                    <a:pt x="190" y="103"/>
                  </a:cubicBezTo>
                  <a:cubicBezTo>
                    <a:pt x="190" y="108"/>
                    <a:pt x="186" y="112"/>
                    <a:pt x="180" y="112"/>
                  </a:cubicBezTo>
                  <a:cubicBezTo>
                    <a:pt x="172" y="112"/>
                    <a:pt x="164" y="112"/>
                    <a:pt x="156" y="112"/>
                  </a:cubicBezTo>
                  <a:cubicBezTo>
                    <a:pt x="156" y="103"/>
                    <a:pt x="149" y="95"/>
                    <a:pt x="140" y="95"/>
                  </a:cubicBezTo>
                  <a:cubicBezTo>
                    <a:pt x="131" y="95"/>
                    <a:pt x="123" y="103"/>
                    <a:pt x="123" y="112"/>
                  </a:cubicBezTo>
                  <a:cubicBezTo>
                    <a:pt x="104" y="112"/>
                    <a:pt x="85" y="112"/>
                    <a:pt x="66" y="112"/>
                  </a:cubicBezTo>
                  <a:cubicBezTo>
                    <a:pt x="66" y="103"/>
                    <a:pt x="59" y="95"/>
                    <a:pt x="50" y="95"/>
                  </a:cubicBezTo>
                  <a:cubicBezTo>
                    <a:pt x="41" y="95"/>
                    <a:pt x="33" y="103"/>
                    <a:pt x="33" y="112"/>
                  </a:cubicBezTo>
                  <a:cubicBezTo>
                    <a:pt x="25" y="112"/>
                    <a:pt x="17" y="112"/>
                    <a:pt x="9" y="112"/>
                  </a:cubicBezTo>
                  <a:cubicBezTo>
                    <a:pt x="4" y="112"/>
                    <a:pt x="0" y="108"/>
                    <a:pt x="0" y="103"/>
                  </a:cubicBezTo>
                  <a:cubicBezTo>
                    <a:pt x="0" y="72"/>
                    <a:pt x="0" y="41"/>
                    <a:pt x="0" y="10"/>
                  </a:cubicBezTo>
                  <a:cubicBezTo>
                    <a:pt x="0" y="4"/>
                    <a:pt x="4" y="0"/>
                    <a:pt x="9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7">
              <a:extLst>
                <a:ext uri="{FF2B5EF4-FFF2-40B4-BE49-F238E27FC236}">
                  <a16:creationId xmlns:a16="http://schemas.microsoft.com/office/drawing/2014/main" id="{83AC965D-2BB8-064B-AE6A-FD247F9804D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4658" y="1654721"/>
              <a:ext cx="47888" cy="176314"/>
            </a:xfrm>
            <a:custGeom>
              <a:avLst/>
              <a:gdLst>
                <a:gd name="T0" fmla="*/ 0 w 27"/>
                <a:gd name="T1" fmla="*/ 0 h 99"/>
                <a:gd name="T2" fmla="*/ 9 w 27"/>
                <a:gd name="T3" fmla="*/ 99 h 99"/>
                <a:gd name="T4" fmla="*/ 20 w 27"/>
                <a:gd name="T5" fmla="*/ 95 h 99"/>
                <a:gd name="T6" fmla="*/ 27 w 27"/>
                <a:gd name="T7" fmla="*/ 97 h 99"/>
                <a:gd name="T8" fmla="*/ 18 w 27"/>
                <a:gd name="T9" fmla="*/ 0 h 99"/>
                <a:gd name="T10" fmla="*/ 0 w 27"/>
                <a:gd name="T11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99">
                  <a:moveTo>
                    <a:pt x="0" y="0"/>
                  </a:moveTo>
                  <a:cubicBezTo>
                    <a:pt x="4" y="39"/>
                    <a:pt x="8" y="87"/>
                    <a:pt x="9" y="99"/>
                  </a:cubicBezTo>
                  <a:cubicBezTo>
                    <a:pt x="12" y="97"/>
                    <a:pt x="16" y="95"/>
                    <a:pt x="20" y="95"/>
                  </a:cubicBezTo>
                  <a:cubicBezTo>
                    <a:pt x="22" y="95"/>
                    <a:pt x="25" y="96"/>
                    <a:pt x="27" y="97"/>
                  </a:cubicBezTo>
                  <a:cubicBezTo>
                    <a:pt x="24" y="72"/>
                    <a:pt x="21" y="30"/>
                    <a:pt x="18" y="0"/>
                  </a:cubicBezTo>
                  <a:cubicBezTo>
                    <a:pt x="12" y="0"/>
                    <a:pt x="6" y="0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8">
              <a:extLst>
                <a:ext uri="{FF2B5EF4-FFF2-40B4-BE49-F238E27FC236}">
                  <a16:creationId xmlns:a16="http://schemas.microsoft.com/office/drawing/2014/main" id="{5F9FB31E-47C5-DE47-86A6-2A0931B28F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59703" y="1654721"/>
              <a:ext cx="46800" cy="177403"/>
            </a:xfrm>
            <a:custGeom>
              <a:avLst/>
              <a:gdLst>
                <a:gd name="T0" fmla="*/ 8 w 26"/>
                <a:gd name="T1" fmla="*/ 0 h 100"/>
                <a:gd name="T2" fmla="*/ 0 w 26"/>
                <a:gd name="T3" fmla="*/ 97 h 100"/>
                <a:gd name="T4" fmla="*/ 6 w 26"/>
                <a:gd name="T5" fmla="*/ 95 h 100"/>
                <a:gd name="T6" fmla="*/ 17 w 26"/>
                <a:gd name="T7" fmla="*/ 100 h 100"/>
                <a:gd name="T8" fmla="*/ 26 w 26"/>
                <a:gd name="T9" fmla="*/ 0 h 100"/>
                <a:gd name="T10" fmla="*/ 8 w 26"/>
                <a:gd name="T11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100">
                  <a:moveTo>
                    <a:pt x="8" y="0"/>
                  </a:moveTo>
                  <a:cubicBezTo>
                    <a:pt x="5" y="35"/>
                    <a:pt x="2" y="79"/>
                    <a:pt x="0" y="97"/>
                  </a:cubicBezTo>
                  <a:cubicBezTo>
                    <a:pt x="2" y="96"/>
                    <a:pt x="4" y="95"/>
                    <a:pt x="6" y="95"/>
                  </a:cubicBezTo>
                  <a:cubicBezTo>
                    <a:pt x="10" y="95"/>
                    <a:pt x="14" y="97"/>
                    <a:pt x="17" y="100"/>
                  </a:cubicBezTo>
                  <a:cubicBezTo>
                    <a:pt x="20" y="74"/>
                    <a:pt x="23" y="30"/>
                    <a:pt x="26" y="0"/>
                  </a:cubicBezTo>
                  <a:cubicBezTo>
                    <a:pt x="20" y="0"/>
                    <a:pt x="14" y="0"/>
                    <a:pt x="8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9">
              <a:extLst>
                <a:ext uri="{FF2B5EF4-FFF2-40B4-BE49-F238E27FC236}">
                  <a16:creationId xmlns:a16="http://schemas.microsoft.com/office/drawing/2014/main" id="{CBFF1EFB-1433-5040-BD95-BF5327E6C5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56438" y="1430520"/>
              <a:ext cx="93599" cy="412488"/>
            </a:xfrm>
            <a:custGeom>
              <a:avLst/>
              <a:gdLst>
                <a:gd name="T0" fmla="*/ 18 w 53"/>
                <a:gd name="T1" fmla="*/ 11 h 232"/>
                <a:gd name="T2" fmla="*/ 0 w 53"/>
                <a:gd name="T3" fmla="*/ 38 h 232"/>
                <a:gd name="T4" fmla="*/ 15 w 53"/>
                <a:gd name="T5" fmla="*/ 60 h 232"/>
                <a:gd name="T6" fmla="*/ 21 w 53"/>
                <a:gd name="T7" fmla="*/ 63 h 232"/>
                <a:gd name="T8" fmla="*/ 5 w 53"/>
                <a:gd name="T9" fmla="*/ 227 h 232"/>
                <a:gd name="T10" fmla="*/ 10 w 53"/>
                <a:gd name="T11" fmla="*/ 232 h 232"/>
                <a:gd name="T12" fmla="*/ 15 w 53"/>
                <a:gd name="T13" fmla="*/ 228 h 232"/>
                <a:gd name="T14" fmla="*/ 31 w 53"/>
                <a:gd name="T15" fmla="*/ 65 h 232"/>
                <a:gd name="T16" fmla="*/ 21 w 53"/>
                <a:gd name="T17" fmla="*/ 52 h 232"/>
                <a:gd name="T18" fmla="*/ 10 w 53"/>
                <a:gd name="T19" fmla="*/ 38 h 232"/>
                <a:gd name="T20" fmla="*/ 24 w 53"/>
                <a:gd name="T21" fmla="*/ 19 h 232"/>
                <a:gd name="T22" fmla="*/ 53 w 53"/>
                <a:gd name="T23" fmla="*/ 10 h 232"/>
                <a:gd name="T24" fmla="*/ 53 w 53"/>
                <a:gd name="T25" fmla="*/ 0 h 232"/>
                <a:gd name="T26" fmla="*/ 18 w 53"/>
                <a:gd name="T27" fmla="*/ 1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3" h="232">
                  <a:moveTo>
                    <a:pt x="18" y="11"/>
                  </a:moveTo>
                  <a:cubicBezTo>
                    <a:pt x="8" y="19"/>
                    <a:pt x="0" y="28"/>
                    <a:pt x="0" y="38"/>
                  </a:cubicBezTo>
                  <a:cubicBezTo>
                    <a:pt x="0" y="49"/>
                    <a:pt x="9" y="55"/>
                    <a:pt x="15" y="60"/>
                  </a:cubicBezTo>
                  <a:cubicBezTo>
                    <a:pt x="18" y="62"/>
                    <a:pt x="21" y="63"/>
                    <a:pt x="21" y="63"/>
                  </a:cubicBezTo>
                  <a:cubicBezTo>
                    <a:pt x="20" y="70"/>
                    <a:pt x="5" y="226"/>
                    <a:pt x="5" y="227"/>
                  </a:cubicBezTo>
                  <a:cubicBezTo>
                    <a:pt x="5" y="230"/>
                    <a:pt x="7" y="232"/>
                    <a:pt x="10" y="232"/>
                  </a:cubicBezTo>
                  <a:cubicBezTo>
                    <a:pt x="12" y="232"/>
                    <a:pt x="15" y="230"/>
                    <a:pt x="15" y="228"/>
                  </a:cubicBezTo>
                  <a:cubicBezTo>
                    <a:pt x="15" y="227"/>
                    <a:pt x="29" y="72"/>
                    <a:pt x="31" y="65"/>
                  </a:cubicBezTo>
                  <a:cubicBezTo>
                    <a:pt x="31" y="59"/>
                    <a:pt x="27" y="56"/>
                    <a:pt x="21" y="52"/>
                  </a:cubicBezTo>
                  <a:cubicBezTo>
                    <a:pt x="16" y="48"/>
                    <a:pt x="10" y="44"/>
                    <a:pt x="10" y="38"/>
                  </a:cubicBezTo>
                  <a:cubicBezTo>
                    <a:pt x="10" y="32"/>
                    <a:pt x="16" y="25"/>
                    <a:pt x="24" y="19"/>
                  </a:cubicBezTo>
                  <a:cubicBezTo>
                    <a:pt x="32" y="14"/>
                    <a:pt x="43" y="10"/>
                    <a:pt x="53" y="1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41" y="0"/>
                    <a:pt x="28" y="5"/>
                    <a:pt x="18" y="11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10">
              <a:extLst>
                <a:ext uri="{FF2B5EF4-FFF2-40B4-BE49-F238E27FC236}">
                  <a16:creationId xmlns:a16="http://schemas.microsoft.com/office/drawing/2014/main" id="{CEBCCCBD-22FE-8647-8791-41BAB23C63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50037" y="1430520"/>
              <a:ext cx="94687" cy="412488"/>
            </a:xfrm>
            <a:custGeom>
              <a:avLst/>
              <a:gdLst>
                <a:gd name="T0" fmla="*/ 38 w 53"/>
                <a:gd name="T1" fmla="*/ 60 h 232"/>
                <a:gd name="T2" fmla="*/ 53 w 53"/>
                <a:gd name="T3" fmla="*/ 38 h 232"/>
                <a:gd name="T4" fmla="*/ 36 w 53"/>
                <a:gd name="T5" fmla="*/ 11 h 232"/>
                <a:gd name="T6" fmla="*/ 0 w 53"/>
                <a:gd name="T7" fmla="*/ 0 h 232"/>
                <a:gd name="T8" fmla="*/ 0 w 53"/>
                <a:gd name="T9" fmla="*/ 10 h 232"/>
                <a:gd name="T10" fmla="*/ 30 w 53"/>
                <a:gd name="T11" fmla="*/ 19 h 232"/>
                <a:gd name="T12" fmla="*/ 44 w 53"/>
                <a:gd name="T13" fmla="*/ 38 h 232"/>
                <a:gd name="T14" fmla="*/ 33 w 53"/>
                <a:gd name="T15" fmla="*/ 52 h 232"/>
                <a:gd name="T16" fmla="*/ 23 w 53"/>
                <a:gd name="T17" fmla="*/ 65 h 232"/>
                <a:gd name="T18" fmla="*/ 39 w 53"/>
                <a:gd name="T19" fmla="*/ 228 h 232"/>
                <a:gd name="T20" fmla="*/ 44 w 53"/>
                <a:gd name="T21" fmla="*/ 232 h 232"/>
                <a:gd name="T22" fmla="*/ 48 w 53"/>
                <a:gd name="T23" fmla="*/ 227 h 232"/>
                <a:gd name="T24" fmla="*/ 33 w 53"/>
                <a:gd name="T25" fmla="*/ 63 h 232"/>
                <a:gd name="T26" fmla="*/ 38 w 53"/>
                <a:gd name="T27" fmla="*/ 6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3" h="232">
                  <a:moveTo>
                    <a:pt x="38" y="60"/>
                  </a:moveTo>
                  <a:cubicBezTo>
                    <a:pt x="45" y="55"/>
                    <a:pt x="53" y="49"/>
                    <a:pt x="53" y="38"/>
                  </a:cubicBezTo>
                  <a:cubicBezTo>
                    <a:pt x="53" y="28"/>
                    <a:pt x="46" y="19"/>
                    <a:pt x="36" y="11"/>
                  </a:cubicBezTo>
                  <a:cubicBezTo>
                    <a:pt x="26" y="5"/>
                    <a:pt x="13" y="0"/>
                    <a:pt x="0" y="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1" y="10"/>
                    <a:pt x="22" y="14"/>
                    <a:pt x="30" y="19"/>
                  </a:cubicBezTo>
                  <a:cubicBezTo>
                    <a:pt x="38" y="25"/>
                    <a:pt x="44" y="32"/>
                    <a:pt x="44" y="38"/>
                  </a:cubicBezTo>
                  <a:cubicBezTo>
                    <a:pt x="44" y="44"/>
                    <a:pt x="38" y="48"/>
                    <a:pt x="33" y="52"/>
                  </a:cubicBezTo>
                  <a:cubicBezTo>
                    <a:pt x="27" y="56"/>
                    <a:pt x="22" y="59"/>
                    <a:pt x="23" y="65"/>
                  </a:cubicBezTo>
                  <a:cubicBezTo>
                    <a:pt x="24" y="72"/>
                    <a:pt x="39" y="227"/>
                    <a:pt x="39" y="228"/>
                  </a:cubicBezTo>
                  <a:cubicBezTo>
                    <a:pt x="39" y="230"/>
                    <a:pt x="41" y="232"/>
                    <a:pt x="44" y="232"/>
                  </a:cubicBezTo>
                  <a:cubicBezTo>
                    <a:pt x="47" y="232"/>
                    <a:pt x="49" y="230"/>
                    <a:pt x="48" y="227"/>
                  </a:cubicBezTo>
                  <a:cubicBezTo>
                    <a:pt x="48" y="226"/>
                    <a:pt x="34" y="70"/>
                    <a:pt x="33" y="63"/>
                  </a:cubicBezTo>
                  <a:cubicBezTo>
                    <a:pt x="33" y="63"/>
                    <a:pt x="35" y="62"/>
                    <a:pt x="38" y="6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11">
              <a:extLst>
                <a:ext uri="{FF2B5EF4-FFF2-40B4-BE49-F238E27FC236}">
                  <a16:creationId xmlns:a16="http://schemas.microsoft.com/office/drawing/2014/main" id="{CFC2B7AE-DB33-D64E-9E08-7AC25D2195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7378" y="-637514"/>
              <a:ext cx="45719" cy="2115921"/>
            </a:xfrm>
            <a:custGeom>
              <a:avLst/>
              <a:gdLst>
                <a:gd name="T0" fmla="*/ 16 w 16"/>
                <a:gd name="T1" fmla="*/ 0 h 747"/>
                <a:gd name="T2" fmla="*/ 16 w 16"/>
                <a:gd name="T3" fmla="*/ 734 h 747"/>
                <a:gd name="T4" fmla="*/ 0 w 16"/>
                <a:gd name="T5" fmla="*/ 735 h 747"/>
                <a:gd name="T6" fmla="*/ 0 w 16"/>
                <a:gd name="T7" fmla="*/ 0 h 747"/>
                <a:gd name="T8" fmla="*/ 16 w 16"/>
                <a:gd name="T9" fmla="*/ 0 h 7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747">
                  <a:moveTo>
                    <a:pt x="16" y="0"/>
                  </a:moveTo>
                  <a:cubicBezTo>
                    <a:pt x="16" y="734"/>
                    <a:pt x="16" y="734"/>
                    <a:pt x="16" y="734"/>
                  </a:cubicBezTo>
                  <a:cubicBezTo>
                    <a:pt x="15" y="747"/>
                    <a:pt x="0" y="746"/>
                    <a:pt x="0" y="735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6" y="0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TextBox 142">
              <a:extLst>
                <a:ext uri="{FF2B5EF4-FFF2-40B4-BE49-F238E27FC236}">
                  <a16:creationId xmlns:a16="http://schemas.microsoft.com/office/drawing/2014/main" id="{46FFF63A-C282-5E44-88CD-51CD8E91E2B5}"/>
                </a:ext>
              </a:extLst>
            </p:cNvPr>
            <p:cNvSpPr txBox="1"/>
            <p:nvPr/>
          </p:nvSpPr>
          <p:spPr>
            <a:xfrm>
              <a:off x="9722691" y="2759404"/>
              <a:ext cx="1253602" cy="40011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2000" b="1" dirty="0">
                  <a:solidFill>
                    <a:schemeClr val="tx2"/>
                  </a:solidFill>
                  <a:latin typeface="+mj-lt"/>
                </a:rPr>
                <a:t>0</a:t>
              </a:r>
              <a:r>
                <a:rPr lang="en-US" altLang="zh-CN" sz="2000" b="1" dirty="0">
                  <a:solidFill>
                    <a:schemeClr val="tx2"/>
                  </a:solidFill>
                  <a:latin typeface="+mj-lt"/>
                </a:rPr>
                <a:t>6</a:t>
              </a:r>
              <a:endParaRPr lang="en-US" sz="2000" b="1" dirty="0">
                <a:solidFill>
                  <a:schemeClr val="tx2"/>
                </a:solidFill>
                <a:latin typeface="+mj-lt"/>
              </a:endParaRPr>
            </a:p>
          </p:txBody>
        </p:sp>
      </p:grpSp>
      <p:sp>
        <p:nvSpPr>
          <p:cNvPr id="2" name="标题 1">
            <a:extLst>
              <a:ext uri="{FF2B5EF4-FFF2-40B4-BE49-F238E27FC236}">
                <a16:creationId xmlns:a16="http://schemas.microsoft.com/office/drawing/2014/main" id="{57B7FF85-0869-3348-90FD-BF53A24A27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1520" y="104775"/>
            <a:ext cx="10072012" cy="762000"/>
          </a:xfrm>
          <a:solidFill>
            <a:schemeClr val="bg1"/>
          </a:solidFill>
        </p:spPr>
        <p:txBody>
          <a:bodyPr/>
          <a:lstStyle/>
          <a:p>
            <a:r>
              <a:rPr kumimoji="1" lang="en-US" altLang="zh-CN" dirty="0"/>
              <a:t>Why</a:t>
            </a:r>
            <a:r>
              <a:rPr kumimoji="1" lang="zh-CN" altLang="en-US" dirty="0"/>
              <a:t> </a:t>
            </a:r>
            <a:r>
              <a:rPr kumimoji="1" lang="en-US" altLang="zh-CN" dirty="0"/>
              <a:t>Choosing</a:t>
            </a:r>
            <a:r>
              <a:rPr kumimoji="1" lang="zh-CN" altLang="en-US" dirty="0"/>
              <a:t> </a:t>
            </a:r>
            <a:r>
              <a:rPr kumimoji="1" lang="en-US" altLang="zh-CN" dirty="0"/>
              <a:t>Open</a:t>
            </a:r>
            <a:r>
              <a:rPr kumimoji="1" lang="zh-CN" altLang="en-US" dirty="0"/>
              <a:t> </a:t>
            </a:r>
            <a:r>
              <a:rPr kumimoji="1" lang="en-US" altLang="zh-CN" dirty="0"/>
              <a:t>Shop</a:t>
            </a:r>
            <a:r>
              <a:rPr kumimoji="1" lang="zh-CN" altLang="en-US" dirty="0"/>
              <a:t> </a:t>
            </a:r>
            <a:r>
              <a:rPr kumimoji="1" lang="en-US" altLang="zh-CN" dirty="0"/>
              <a:t>Model</a:t>
            </a:r>
            <a:endParaRPr kumimoji="1" lang="zh-CN" altLang="en-US" dirty="0"/>
          </a:p>
        </p:txBody>
      </p:sp>
      <p:sp>
        <p:nvSpPr>
          <p:cNvPr id="7" name="TextBox 75">
            <a:extLst>
              <a:ext uri="{FF2B5EF4-FFF2-40B4-BE49-F238E27FC236}">
                <a16:creationId xmlns:a16="http://schemas.microsoft.com/office/drawing/2014/main" id="{3A734A64-E0AE-AD47-9FE1-80A472BDC772}"/>
              </a:ext>
            </a:extLst>
          </p:cNvPr>
          <p:cNvSpPr txBox="1"/>
          <p:nvPr/>
        </p:nvSpPr>
        <p:spPr>
          <a:xfrm>
            <a:off x="51994" y="3945759"/>
            <a:ext cx="18083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accent1"/>
                </a:solidFill>
                <a:cs typeface="Lato Regular"/>
              </a:rPr>
              <a:t>Jobs</a:t>
            </a:r>
            <a:endParaRPr lang="id-ID" sz="1600" b="1" dirty="0">
              <a:solidFill>
                <a:schemeClr val="accent1"/>
              </a:solidFill>
              <a:cs typeface="Lato Regular"/>
            </a:endParaRPr>
          </a:p>
        </p:txBody>
      </p:sp>
      <p:sp>
        <p:nvSpPr>
          <p:cNvPr id="8" name="TextBox 76">
            <a:extLst>
              <a:ext uri="{FF2B5EF4-FFF2-40B4-BE49-F238E27FC236}">
                <a16:creationId xmlns:a16="http://schemas.microsoft.com/office/drawing/2014/main" id="{C8540A57-F856-994B-B54D-052EF5DEB543}"/>
              </a:ext>
            </a:extLst>
          </p:cNvPr>
          <p:cNvSpPr txBox="1"/>
          <p:nvPr/>
        </p:nvSpPr>
        <p:spPr>
          <a:xfrm>
            <a:off x="51993" y="4291787"/>
            <a:ext cx="1808318" cy="6297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" sz="1400" dirty="0">
                <a:solidFill>
                  <a:schemeClr val="tx2"/>
                </a:solidFill>
              </a:rPr>
              <a:t>A person playing some attraction</a:t>
            </a:r>
            <a:endParaRPr lang="en-US" sz="1400" dirty="0"/>
          </a:p>
        </p:txBody>
      </p:sp>
      <p:sp>
        <p:nvSpPr>
          <p:cNvPr id="10" name="TextBox 78">
            <a:extLst>
              <a:ext uri="{FF2B5EF4-FFF2-40B4-BE49-F238E27FC236}">
                <a16:creationId xmlns:a16="http://schemas.microsoft.com/office/drawing/2014/main" id="{5C54BCF5-3F60-E54D-8BC9-2347D616D41A}"/>
              </a:ext>
            </a:extLst>
          </p:cNvPr>
          <p:cNvSpPr txBox="1"/>
          <p:nvPr/>
        </p:nvSpPr>
        <p:spPr>
          <a:xfrm>
            <a:off x="4244418" y="3792357"/>
            <a:ext cx="1808318" cy="6297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" sz="1400" dirty="0">
                <a:solidFill>
                  <a:schemeClr val="tx2"/>
                </a:solidFill>
              </a:rPr>
              <a:t>Each machine take one person at a time</a:t>
            </a:r>
            <a:endParaRPr lang="en-US" sz="1400" dirty="0"/>
          </a:p>
        </p:txBody>
      </p:sp>
      <p:sp>
        <p:nvSpPr>
          <p:cNvPr id="11" name="TextBox 79">
            <a:extLst>
              <a:ext uri="{FF2B5EF4-FFF2-40B4-BE49-F238E27FC236}">
                <a16:creationId xmlns:a16="http://schemas.microsoft.com/office/drawing/2014/main" id="{61570F8F-742B-E748-AFBF-45846342C3BF}"/>
              </a:ext>
            </a:extLst>
          </p:cNvPr>
          <p:cNvSpPr txBox="1"/>
          <p:nvPr/>
        </p:nvSpPr>
        <p:spPr>
          <a:xfrm>
            <a:off x="8545220" y="3945759"/>
            <a:ext cx="18083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accent5"/>
                </a:solidFill>
                <a:cs typeface="Lato Regular"/>
              </a:rPr>
              <a:t>Differences</a:t>
            </a:r>
            <a:endParaRPr lang="id-ID" sz="1600" b="1" dirty="0">
              <a:solidFill>
                <a:schemeClr val="accent5"/>
              </a:solidFill>
              <a:cs typeface="Lato Regular"/>
            </a:endParaRPr>
          </a:p>
        </p:txBody>
      </p:sp>
      <p:sp>
        <p:nvSpPr>
          <p:cNvPr id="12" name="TextBox 80">
            <a:extLst>
              <a:ext uri="{FF2B5EF4-FFF2-40B4-BE49-F238E27FC236}">
                <a16:creationId xmlns:a16="http://schemas.microsoft.com/office/drawing/2014/main" id="{58D1D015-92BF-9D42-A2FC-DD096C81DE0D}"/>
              </a:ext>
            </a:extLst>
          </p:cNvPr>
          <p:cNvSpPr txBox="1"/>
          <p:nvPr/>
        </p:nvSpPr>
        <p:spPr>
          <a:xfrm>
            <a:off x="8545214" y="4291787"/>
            <a:ext cx="1808318" cy="14700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" sz="1400" dirty="0">
                <a:solidFill>
                  <a:schemeClr val="tx2"/>
                </a:solidFill>
              </a:rPr>
              <a:t>Different from job shop, open shop deals with multi-operation while the routes of the jobs open</a:t>
            </a:r>
            <a:endParaRPr lang="en-US" sz="1400" dirty="0"/>
          </a:p>
        </p:txBody>
      </p:sp>
      <p:sp>
        <p:nvSpPr>
          <p:cNvPr id="13" name="TextBox 81">
            <a:extLst>
              <a:ext uri="{FF2B5EF4-FFF2-40B4-BE49-F238E27FC236}">
                <a16:creationId xmlns:a16="http://schemas.microsoft.com/office/drawing/2014/main" id="{5C94161A-C0EB-A64E-9CFB-CD954152CF03}"/>
              </a:ext>
            </a:extLst>
          </p:cNvPr>
          <p:cNvSpPr txBox="1"/>
          <p:nvPr/>
        </p:nvSpPr>
        <p:spPr>
          <a:xfrm>
            <a:off x="2175299" y="5278381"/>
            <a:ext cx="180832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accent2"/>
                </a:solidFill>
                <a:cs typeface="Lato Regular"/>
              </a:rPr>
              <a:t>Processing</a:t>
            </a:r>
            <a:r>
              <a:rPr lang="zh-CN" altLang="en-US" sz="1600" b="1" dirty="0">
                <a:solidFill>
                  <a:schemeClr val="accent2"/>
                </a:solidFill>
                <a:cs typeface="Lato Regular"/>
              </a:rPr>
              <a:t> </a:t>
            </a:r>
            <a:r>
              <a:rPr lang="en-US" altLang="zh-CN" sz="1600" b="1" dirty="0">
                <a:solidFill>
                  <a:schemeClr val="accent2"/>
                </a:solidFill>
                <a:cs typeface="Lato Regular"/>
              </a:rPr>
              <a:t>Time</a:t>
            </a:r>
            <a:endParaRPr lang="id-ID" sz="1600" b="1" dirty="0">
              <a:solidFill>
                <a:schemeClr val="accent2"/>
              </a:solidFill>
              <a:cs typeface="Lato Regular"/>
            </a:endParaRPr>
          </a:p>
        </p:txBody>
      </p:sp>
      <p:sp>
        <p:nvSpPr>
          <p:cNvPr id="14" name="TextBox 82">
            <a:extLst>
              <a:ext uri="{FF2B5EF4-FFF2-40B4-BE49-F238E27FC236}">
                <a16:creationId xmlns:a16="http://schemas.microsoft.com/office/drawing/2014/main" id="{E9051689-5724-E94F-8ED8-3095CB479EDE}"/>
              </a:ext>
            </a:extLst>
          </p:cNvPr>
          <p:cNvSpPr txBox="1"/>
          <p:nvPr/>
        </p:nvSpPr>
        <p:spPr>
          <a:xfrm>
            <a:off x="2175298" y="5624409"/>
            <a:ext cx="1808318" cy="9098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" sz="1400" dirty="0">
                <a:solidFill>
                  <a:schemeClr val="tx2"/>
                </a:solidFill>
              </a:rPr>
              <a:t>Time spent for that the person sitting on that attraction</a:t>
            </a:r>
          </a:p>
        </p:txBody>
      </p:sp>
      <p:sp>
        <p:nvSpPr>
          <p:cNvPr id="15" name="TextBox 83">
            <a:extLst>
              <a:ext uri="{FF2B5EF4-FFF2-40B4-BE49-F238E27FC236}">
                <a16:creationId xmlns:a16="http://schemas.microsoft.com/office/drawing/2014/main" id="{C8A325A9-9E16-A64F-930B-188FE1957789}"/>
              </a:ext>
            </a:extLst>
          </p:cNvPr>
          <p:cNvSpPr txBox="1"/>
          <p:nvPr/>
        </p:nvSpPr>
        <p:spPr>
          <a:xfrm>
            <a:off x="6399887" y="4921575"/>
            <a:ext cx="18083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accent4"/>
                </a:solidFill>
                <a:cs typeface="Lato Regular"/>
              </a:rPr>
              <a:t>Distribution</a:t>
            </a:r>
            <a:endParaRPr lang="id-ID" sz="1600" b="1" dirty="0">
              <a:solidFill>
                <a:schemeClr val="accent4"/>
              </a:solidFill>
              <a:cs typeface="Lato Regular"/>
            </a:endParaRPr>
          </a:p>
        </p:txBody>
      </p:sp>
      <p:sp>
        <p:nvSpPr>
          <p:cNvPr id="16" name="TextBox 84">
            <a:extLst>
              <a:ext uri="{FF2B5EF4-FFF2-40B4-BE49-F238E27FC236}">
                <a16:creationId xmlns:a16="http://schemas.microsoft.com/office/drawing/2014/main" id="{D47960ED-CF97-6145-9466-FCA07422A8BF}"/>
              </a:ext>
            </a:extLst>
          </p:cNvPr>
          <p:cNvSpPr txBox="1"/>
          <p:nvPr/>
        </p:nvSpPr>
        <p:spPr>
          <a:xfrm>
            <a:off x="6215747" y="5272589"/>
            <a:ext cx="2368533" cy="14700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" sz="1400" dirty="0">
                <a:solidFill>
                  <a:schemeClr val="accent4">
                    <a:lumMod val="50000"/>
                  </a:schemeClr>
                </a:solidFill>
              </a:rPr>
              <a:t>Potentially, we want to model each job as randomly generated by some distribution according to the popularity of that attraction</a:t>
            </a:r>
          </a:p>
        </p:txBody>
      </p:sp>
      <p:sp>
        <p:nvSpPr>
          <p:cNvPr id="91" name="TextBox 81">
            <a:extLst>
              <a:ext uri="{FF2B5EF4-FFF2-40B4-BE49-F238E27FC236}">
                <a16:creationId xmlns:a16="http://schemas.microsoft.com/office/drawing/2014/main" id="{8D346EB0-8D74-504D-99B7-9B2334319C89}"/>
              </a:ext>
            </a:extLst>
          </p:cNvPr>
          <p:cNvSpPr txBox="1"/>
          <p:nvPr/>
        </p:nvSpPr>
        <p:spPr>
          <a:xfrm>
            <a:off x="10328711" y="5345053"/>
            <a:ext cx="180832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accent2"/>
                </a:solidFill>
                <a:cs typeface="Lato Regular"/>
              </a:rPr>
              <a:t>Generic algorithm</a:t>
            </a:r>
            <a:endParaRPr lang="id-ID" sz="1600" b="1" dirty="0">
              <a:solidFill>
                <a:schemeClr val="accent2"/>
              </a:solidFill>
              <a:cs typeface="Lato Regular"/>
            </a:endParaRPr>
          </a:p>
        </p:txBody>
      </p:sp>
      <p:sp>
        <p:nvSpPr>
          <p:cNvPr id="92" name="TextBox 82">
            <a:extLst>
              <a:ext uri="{FF2B5EF4-FFF2-40B4-BE49-F238E27FC236}">
                <a16:creationId xmlns:a16="http://schemas.microsoft.com/office/drawing/2014/main" id="{A319C07D-B097-DA44-B61D-19E740362E8C}"/>
              </a:ext>
            </a:extLst>
          </p:cNvPr>
          <p:cNvSpPr txBox="1"/>
          <p:nvPr/>
        </p:nvSpPr>
        <p:spPr>
          <a:xfrm>
            <a:off x="10328710" y="5691081"/>
            <a:ext cx="1808318" cy="9098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" sz="1400" dirty="0">
                <a:solidFill>
                  <a:schemeClr val="tx2"/>
                </a:solidFill>
              </a:rPr>
              <a:t>Generic algorithm will be used to minimize total tardiness. </a:t>
            </a:r>
          </a:p>
        </p:txBody>
      </p:sp>
      <p:sp>
        <p:nvSpPr>
          <p:cNvPr id="93" name="Freeform 46">
            <a:extLst>
              <a:ext uri="{FF2B5EF4-FFF2-40B4-BE49-F238E27FC236}">
                <a16:creationId xmlns:a16="http://schemas.microsoft.com/office/drawing/2014/main" id="{44015B19-AEA8-A648-B0B0-BDF130B3B4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14475" y="2260683"/>
            <a:ext cx="564848" cy="538977"/>
          </a:xfrm>
          <a:custGeom>
            <a:avLst/>
            <a:gdLst>
              <a:gd name="T0" fmla="*/ 163754 w 461"/>
              <a:gd name="T1" fmla="*/ 150508 h 443"/>
              <a:gd name="T2" fmla="*/ 163754 w 461"/>
              <a:gd name="T3" fmla="*/ 150508 h 443"/>
              <a:gd name="T4" fmla="*/ 128116 w 461"/>
              <a:gd name="T5" fmla="*/ 111089 h 443"/>
              <a:gd name="T6" fmla="*/ 139845 w 461"/>
              <a:gd name="T7" fmla="*/ 87349 h 443"/>
              <a:gd name="T8" fmla="*/ 147965 w 461"/>
              <a:gd name="T9" fmla="*/ 67639 h 443"/>
              <a:gd name="T10" fmla="*/ 143905 w 461"/>
              <a:gd name="T11" fmla="*/ 59128 h 443"/>
              <a:gd name="T12" fmla="*/ 147965 w 461"/>
              <a:gd name="T13" fmla="*/ 39419 h 443"/>
              <a:gd name="T14" fmla="*/ 103756 w 461"/>
              <a:gd name="T15" fmla="*/ 0 h 443"/>
              <a:gd name="T16" fmla="*/ 59547 w 461"/>
              <a:gd name="T17" fmla="*/ 39419 h 443"/>
              <a:gd name="T18" fmla="*/ 63607 w 461"/>
              <a:gd name="T19" fmla="*/ 59128 h 443"/>
              <a:gd name="T20" fmla="*/ 59547 w 461"/>
              <a:gd name="T21" fmla="*/ 67639 h 443"/>
              <a:gd name="T22" fmla="*/ 67667 w 461"/>
              <a:gd name="T23" fmla="*/ 87349 h 443"/>
              <a:gd name="T24" fmla="*/ 79847 w 461"/>
              <a:gd name="T25" fmla="*/ 111089 h 443"/>
              <a:gd name="T26" fmla="*/ 43758 w 461"/>
              <a:gd name="T27" fmla="*/ 150508 h 443"/>
              <a:gd name="T28" fmla="*/ 0 w 461"/>
              <a:gd name="T29" fmla="*/ 178281 h 443"/>
              <a:gd name="T30" fmla="*/ 0 w 461"/>
              <a:gd name="T31" fmla="*/ 197990 h 443"/>
              <a:gd name="T32" fmla="*/ 103756 w 461"/>
              <a:gd name="T33" fmla="*/ 197990 h 443"/>
              <a:gd name="T34" fmla="*/ 207512 w 461"/>
              <a:gd name="T35" fmla="*/ 197990 h 443"/>
              <a:gd name="T36" fmla="*/ 207512 w 461"/>
              <a:gd name="T37" fmla="*/ 178281 h 443"/>
              <a:gd name="T38" fmla="*/ 163754 w 461"/>
              <a:gd name="T39" fmla="*/ 150508 h 443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461" h="443">
                <a:moveTo>
                  <a:pt x="363" y="336"/>
                </a:moveTo>
                <a:lnTo>
                  <a:pt x="363" y="336"/>
                </a:lnTo>
                <a:cubicBezTo>
                  <a:pt x="301" y="310"/>
                  <a:pt x="284" y="292"/>
                  <a:pt x="284" y="248"/>
                </a:cubicBezTo>
                <a:cubicBezTo>
                  <a:pt x="284" y="230"/>
                  <a:pt x="301" y="239"/>
                  <a:pt x="310" y="195"/>
                </a:cubicBezTo>
                <a:cubicBezTo>
                  <a:pt x="310" y="176"/>
                  <a:pt x="328" y="195"/>
                  <a:pt x="328" y="151"/>
                </a:cubicBezTo>
                <a:cubicBezTo>
                  <a:pt x="328" y="132"/>
                  <a:pt x="319" y="132"/>
                  <a:pt x="319" y="132"/>
                </a:cubicBezTo>
                <a:cubicBezTo>
                  <a:pt x="319" y="132"/>
                  <a:pt x="328" y="106"/>
                  <a:pt x="328" y="88"/>
                </a:cubicBezTo>
                <a:cubicBezTo>
                  <a:pt x="328" y="61"/>
                  <a:pt x="319" y="0"/>
                  <a:pt x="230" y="0"/>
                </a:cubicBezTo>
                <a:cubicBezTo>
                  <a:pt x="141" y="0"/>
                  <a:pt x="132" y="61"/>
                  <a:pt x="132" y="88"/>
                </a:cubicBezTo>
                <a:cubicBezTo>
                  <a:pt x="132" y="106"/>
                  <a:pt x="141" y="132"/>
                  <a:pt x="141" y="132"/>
                </a:cubicBezTo>
                <a:cubicBezTo>
                  <a:pt x="141" y="132"/>
                  <a:pt x="132" y="132"/>
                  <a:pt x="132" y="151"/>
                </a:cubicBezTo>
                <a:cubicBezTo>
                  <a:pt x="132" y="195"/>
                  <a:pt x="150" y="176"/>
                  <a:pt x="150" y="195"/>
                </a:cubicBezTo>
                <a:cubicBezTo>
                  <a:pt x="159" y="239"/>
                  <a:pt x="177" y="230"/>
                  <a:pt x="177" y="248"/>
                </a:cubicBezTo>
                <a:cubicBezTo>
                  <a:pt x="177" y="292"/>
                  <a:pt x="159" y="310"/>
                  <a:pt x="97" y="336"/>
                </a:cubicBezTo>
                <a:cubicBezTo>
                  <a:pt x="35" y="354"/>
                  <a:pt x="0" y="380"/>
                  <a:pt x="0" y="398"/>
                </a:cubicBezTo>
                <a:cubicBezTo>
                  <a:pt x="0" y="407"/>
                  <a:pt x="0" y="442"/>
                  <a:pt x="0" y="442"/>
                </a:cubicBezTo>
                <a:cubicBezTo>
                  <a:pt x="230" y="442"/>
                  <a:pt x="230" y="442"/>
                  <a:pt x="230" y="442"/>
                </a:cubicBezTo>
                <a:cubicBezTo>
                  <a:pt x="460" y="442"/>
                  <a:pt x="460" y="442"/>
                  <a:pt x="460" y="442"/>
                </a:cubicBezTo>
                <a:cubicBezTo>
                  <a:pt x="460" y="442"/>
                  <a:pt x="460" y="407"/>
                  <a:pt x="460" y="398"/>
                </a:cubicBezTo>
                <a:cubicBezTo>
                  <a:pt x="460" y="380"/>
                  <a:pt x="425" y="354"/>
                  <a:pt x="363" y="336"/>
                </a:cubicBezTo>
              </a:path>
            </a:pathLst>
          </a:custGeom>
          <a:solidFill>
            <a:srgbClr val="C9D8E5"/>
          </a:solidFill>
          <a:ln>
            <a:noFill/>
          </a:ln>
          <a:effectLst/>
          <a:extLst/>
        </p:spPr>
        <p:txBody>
          <a:bodyPr wrap="none" lIns="34291" tIns="17145" rIns="34291" bIns="17145" anchor="ctr"/>
          <a:lstStyle/>
          <a:p>
            <a:endParaRPr lang="en-US" dirty="0"/>
          </a:p>
        </p:txBody>
      </p:sp>
      <p:sp>
        <p:nvSpPr>
          <p:cNvPr id="94" name="Freeform 39">
            <a:extLst>
              <a:ext uri="{FF2B5EF4-FFF2-40B4-BE49-F238E27FC236}">
                <a16:creationId xmlns:a16="http://schemas.microsoft.com/office/drawing/2014/main" id="{C3F2C497-DBC6-DA47-A4F2-E541D0F1EF8A}"/>
              </a:ext>
            </a:extLst>
          </p:cNvPr>
          <p:cNvSpPr>
            <a:spLocks noEditPoints="1"/>
          </p:cNvSpPr>
          <p:nvPr/>
        </p:nvSpPr>
        <p:spPr bwMode="auto">
          <a:xfrm>
            <a:off x="717710" y="2286409"/>
            <a:ext cx="497147" cy="480641"/>
          </a:xfrm>
          <a:custGeom>
            <a:avLst/>
            <a:gdLst>
              <a:gd name="T0" fmla="*/ 386 w 433"/>
              <a:gd name="T1" fmla="*/ 69 h 418"/>
              <a:gd name="T2" fmla="*/ 290 w 433"/>
              <a:gd name="T3" fmla="*/ 69 h 418"/>
              <a:gd name="T4" fmla="*/ 290 w 433"/>
              <a:gd name="T5" fmla="*/ 44 h 418"/>
              <a:gd name="T6" fmla="*/ 246 w 433"/>
              <a:gd name="T7" fmla="*/ 0 h 418"/>
              <a:gd name="T8" fmla="*/ 187 w 433"/>
              <a:gd name="T9" fmla="*/ 0 h 418"/>
              <a:gd name="T10" fmla="*/ 143 w 433"/>
              <a:gd name="T11" fmla="*/ 44 h 418"/>
              <a:gd name="T12" fmla="*/ 143 w 433"/>
              <a:gd name="T13" fmla="*/ 69 h 418"/>
              <a:gd name="T14" fmla="*/ 47 w 433"/>
              <a:gd name="T15" fmla="*/ 69 h 418"/>
              <a:gd name="T16" fmla="*/ 0 w 433"/>
              <a:gd name="T17" fmla="*/ 116 h 418"/>
              <a:gd name="T18" fmla="*/ 0 w 433"/>
              <a:gd name="T19" fmla="*/ 347 h 418"/>
              <a:gd name="T20" fmla="*/ 47 w 433"/>
              <a:gd name="T21" fmla="*/ 395 h 418"/>
              <a:gd name="T22" fmla="*/ 61 w 433"/>
              <a:gd name="T23" fmla="*/ 395 h 418"/>
              <a:gd name="T24" fmla="*/ 84 w 433"/>
              <a:gd name="T25" fmla="*/ 418 h 418"/>
              <a:gd name="T26" fmla="*/ 108 w 433"/>
              <a:gd name="T27" fmla="*/ 395 h 418"/>
              <a:gd name="T28" fmla="*/ 325 w 433"/>
              <a:gd name="T29" fmla="*/ 395 h 418"/>
              <a:gd name="T30" fmla="*/ 349 w 433"/>
              <a:gd name="T31" fmla="*/ 418 h 418"/>
              <a:gd name="T32" fmla="*/ 372 w 433"/>
              <a:gd name="T33" fmla="*/ 395 h 418"/>
              <a:gd name="T34" fmla="*/ 386 w 433"/>
              <a:gd name="T35" fmla="*/ 395 h 418"/>
              <a:gd name="T36" fmla="*/ 433 w 433"/>
              <a:gd name="T37" fmla="*/ 347 h 418"/>
              <a:gd name="T38" fmla="*/ 433 w 433"/>
              <a:gd name="T39" fmla="*/ 116 h 418"/>
              <a:gd name="T40" fmla="*/ 386 w 433"/>
              <a:gd name="T41" fmla="*/ 69 h 418"/>
              <a:gd name="T42" fmla="*/ 176 w 433"/>
              <a:gd name="T43" fmla="*/ 44 h 418"/>
              <a:gd name="T44" fmla="*/ 187 w 433"/>
              <a:gd name="T45" fmla="*/ 33 h 418"/>
              <a:gd name="T46" fmla="*/ 246 w 433"/>
              <a:gd name="T47" fmla="*/ 33 h 418"/>
              <a:gd name="T48" fmla="*/ 257 w 433"/>
              <a:gd name="T49" fmla="*/ 44 h 418"/>
              <a:gd name="T50" fmla="*/ 257 w 433"/>
              <a:gd name="T51" fmla="*/ 69 h 418"/>
              <a:gd name="T52" fmla="*/ 176 w 433"/>
              <a:gd name="T53" fmla="*/ 69 h 418"/>
              <a:gd name="T54" fmla="*/ 176 w 433"/>
              <a:gd name="T55" fmla="*/ 44 h 418"/>
              <a:gd name="T56" fmla="*/ 97 w 433"/>
              <a:gd name="T57" fmla="*/ 344 h 418"/>
              <a:gd name="T58" fmla="*/ 59 w 433"/>
              <a:gd name="T59" fmla="*/ 306 h 418"/>
              <a:gd name="T60" fmla="*/ 97 w 433"/>
              <a:gd name="T61" fmla="*/ 268 h 418"/>
              <a:gd name="T62" fmla="*/ 135 w 433"/>
              <a:gd name="T63" fmla="*/ 306 h 418"/>
              <a:gd name="T64" fmla="*/ 97 w 433"/>
              <a:gd name="T65" fmla="*/ 344 h 418"/>
              <a:gd name="T66" fmla="*/ 159 w 433"/>
              <a:gd name="T67" fmla="*/ 190 h 418"/>
              <a:gd name="T68" fmla="*/ 184 w 433"/>
              <a:gd name="T69" fmla="*/ 122 h 418"/>
              <a:gd name="T70" fmla="*/ 252 w 433"/>
              <a:gd name="T71" fmla="*/ 147 h 418"/>
              <a:gd name="T72" fmla="*/ 227 w 433"/>
              <a:gd name="T73" fmla="*/ 215 h 418"/>
              <a:gd name="T74" fmla="*/ 159 w 433"/>
              <a:gd name="T75" fmla="*/ 190 h 418"/>
              <a:gd name="T76" fmla="*/ 268 w 433"/>
              <a:gd name="T77" fmla="*/ 335 h 418"/>
              <a:gd name="T78" fmla="*/ 251 w 433"/>
              <a:gd name="T79" fmla="*/ 277 h 418"/>
              <a:gd name="T80" fmla="*/ 378 w 433"/>
              <a:gd name="T81" fmla="*/ 241 h 418"/>
              <a:gd name="T82" fmla="*/ 394 w 433"/>
              <a:gd name="T83" fmla="*/ 298 h 418"/>
              <a:gd name="T84" fmla="*/ 268 w 433"/>
              <a:gd name="T85" fmla="*/ 335 h 4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433" h="418">
                <a:moveTo>
                  <a:pt x="386" y="69"/>
                </a:moveTo>
                <a:cubicBezTo>
                  <a:pt x="290" y="69"/>
                  <a:pt x="290" y="69"/>
                  <a:pt x="290" y="69"/>
                </a:cubicBezTo>
                <a:cubicBezTo>
                  <a:pt x="290" y="44"/>
                  <a:pt x="290" y="44"/>
                  <a:pt x="290" y="44"/>
                </a:cubicBezTo>
                <a:cubicBezTo>
                  <a:pt x="290" y="20"/>
                  <a:pt x="270" y="0"/>
                  <a:pt x="246" y="0"/>
                </a:cubicBezTo>
                <a:cubicBezTo>
                  <a:pt x="187" y="0"/>
                  <a:pt x="187" y="0"/>
                  <a:pt x="187" y="0"/>
                </a:cubicBezTo>
                <a:cubicBezTo>
                  <a:pt x="163" y="0"/>
                  <a:pt x="143" y="20"/>
                  <a:pt x="143" y="44"/>
                </a:cubicBezTo>
                <a:cubicBezTo>
                  <a:pt x="143" y="69"/>
                  <a:pt x="143" y="69"/>
                  <a:pt x="143" y="69"/>
                </a:cubicBezTo>
                <a:cubicBezTo>
                  <a:pt x="47" y="69"/>
                  <a:pt x="47" y="69"/>
                  <a:pt x="47" y="69"/>
                </a:cubicBezTo>
                <a:cubicBezTo>
                  <a:pt x="21" y="69"/>
                  <a:pt x="0" y="90"/>
                  <a:pt x="0" y="116"/>
                </a:cubicBezTo>
                <a:cubicBezTo>
                  <a:pt x="0" y="347"/>
                  <a:pt x="0" y="347"/>
                  <a:pt x="0" y="347"/>
                </a:cubicBezTo>
                <a:cubicBezTo>
                  <a:pt x="0" y="373"/>
                  <a:pt x="21" y="395"/>
                  <a:pt x="47" y="395"/>
                </a:cubicBezTo>
                <a:cubicBezTo>
                  <a:pt x="61" y="395"/>
                  <a:pt x="61" y="395"/>
                  <a:pt x="61" y="395"/>
                </a:cubicBezTo>
                <a:cubicBezTo>
                  <a:pt x="61" y="408"/>
                  <a:pt x="71" y="418"/>
                  <a:pt x="84" y="418"/>
                </a:cubicBezTo>
                <a:cubicBezTo>
                  <a:pt x="97" y="418"/>
                  <a:pt x="108" y="408"/>
                  <a:pt x="108" y="395"/>
                </a:cubicBezTo>
                <a:cubicBezTo>
                  <a:pt x="325" y="395"/>
                  <a:pt x="325" y="395"/>
                  <a:pt x="325" y="395"/>
                </a:cubicBezTo>
                <a:cubicBezTo>
                  <a:pt x="325" y="408"/>
                  <a:pt x="336" y="418"/>
                  <a:pt x="349" y="418"/>
                </a:cubicBezTo>
                <a:cubicBezTo>
                  <a:pt x="362" y="418"/>
                  <a:pt x="372" y="408"/>
                  <a:pt x="372" y="395"/>
                </a:cubicBezTo>
                <a:cubicBezTo>
                  <a:pt x="386" y="395"/>
                  <a:pt x="386" y="395"/>
                  <a:pt x="386" y="395"/>
                </a:cubicBezTo>
                <a:cubicBezTo>
                  <a:pt x="412" y="395"/>
                  <a:pt x="433" y="373"/>
                  <a:pt x="433" y="347"/>
                </a:cubicBezTo>
                <a:cubicBezTo>
                  <a:pt x="433" y="116"/>
                  <a:pt x="433" y="116"/>
                  <a:pt x="433" y="116"/>
                </a:cubicBezTo>
                <a:cubicBezTo>
                  <a:pt x="433" y="90"/>
                  <a:pt x="412" y="69"/>
                  <a:pt x="386" y="69"/>
                </a:cubicBezTo>
                <a:close/>
                <a:moveTo>
                  <a:pt x="176" y="44"/>
                </a:moveTo>
                <a:cubicBezTo>
                  <a:pt x="176" y="38"/>
                  <a:pt x="181" y="33"/>
                  <a:pt x="187" y="33"/>
                </a:cubicBezTo>
                <a:cubicBezTo>
                  <a:pt x="246" y="33"/>
                  <a:pt x="246" y="33"/>
                  <a:pt x="246" y="33"/>
                </a:cubicBezTo>
                <a:cubicBezTo>
                  <a:pt x="252" y="33"/>
                  <a:pt x="257" y="38"/>
                  <a:pt x="257" y="44"/>
                </a:cubicBezTo>
                <a:cubicBezTo>
                  <a:pt x="257" y="69"/>
                  <a:pt x="257" y="69"/>
                  <a:pt x="257" y="69"/>
                </a:cubicBezTo>
                <a:cubicBezTo>
                  <a:pt x="176" y="69"/>
                  <a:pt x="176" y="69"/>
                  <a:pt x="176" y="69"/>
                </a:cubicBezTo>
                <a:lnTo>
                  <a:pt x="176" y="44"/>
                </a:lnTo>
                <a:close/>
                <a:moveTo>
                  <a:pt x="97" y="344"/>
                </a:moveTo>
                <a:cubicBezTo>
                  <a:pt x="76" y="344"/>
                  <a:pt x="59" y="327"/>
                  <a:pt x="59" y="306"/>
                </a:cubicBezTo>
                <a:cubicBezTo>
                  <a:pt x="59" y="285"/>
                  <a:pt x="76" y="268"/>
                  <a:pt x="97" y="268"/>
                </a:cubicBezTo>
                <a:cubicBezTo>
                  <a:pt x="118" y="268"/>
                  <a:pt x="135" y="285"/>
                  <a:pt x="135" y="306"/>
                </a:cubicBezTo>
                <a:cubicBezTo>
                  <a:pt x="135" y="327"/>
                  <a:pt x="118" y="344"/>
                  <a:pt x="97" y="344"/>
                </a:cubicBezTo>
                <a:close/>
                <a:moveTo>
                  <a:pt x="159" y="190"/>
                </a:moveTo>
                <a:cubicBezTo>
                  <a:pt x="184" y="122"/>
                  <a:pt x="184" y="122"/>
                  <a:pt x="184" y="122"/>
                </a:cubicBezTo>
                <a:cubicBezTo>
                  <a:pt x="252" y="147"/>
                  <a:pt x="252" y="147"/>
                  <a:pt x="252" y="147"/>
                </a:cubicBezTo>
                <a:cubicBezTo>
                  <a:pt x="227" y="215"/>
                  <a:pt x="227" y="215"/>
                  <a:pt x="227" y="215"/>
                </a:cubicBezTo>
                <a:lnTo>
                  <a:pt x="159" y="190"/>
                </a:lnTo>
                <a:close/>
                <a:moveTo>
                  <a:pt x="268" y="335"/>
                </a:moveTo>
                <a:cubicBezTo>
                  <a:pt x="251" y="277"/>
                  <a:pt x="251" y="277"/>
                  <a:pt x="251" y="277"/>
                </a:cubicBezTo>
                <a:cubicBezTo>
                  <a:pt x="378" y="241"/>
                  <a:pt x="378" y="241"/>
                  <a:pt x="378" y="241"/>
                </a:cubicBezTo>
                <a:cubicBezTo>
                  <a:pt x="394" y="298"/>
                  <a:pt x="394" y="298"/>
                  <a:pt x="394" y="298"/>
                </a:cubicBezTo>
                <a:lnTo>
                  <a:pt x="268" y="335"/>
                </a:lnTo>
                <a:close/>
              </a:path>
            </a:pathLst>
          </a:custGeom>
          <a:solidFill>
            <a:srgbClr val="1F497D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>
              <a:solidFill>
                <a:prstClr val="black"/>
              </a:solidFill>
            </a:endParaRPr>
          </a:p>
        </p:txBody>
      </p:sp>
      <p:sp>
        <p:nvSpPr>
          <p:cNvPr id="96" name="Freeform 167">
            <a:extLst>
              <a:ext uri="{FF2B5EF4-FFF2-40B4-BE49-F238E27FC236}">
                <a16:creationId xmlns:a16="http://schemas.microsoft.com/office/drawing/2014/main" id="{06536E20-DC91-1A42-B852-38D3921C46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20121" y="3690364"/>
            <a:ext cx="508792" cy="513105"/>
          </a:xfrm>
          <a:custGeom>
            <a:avLst/>
            <a:gdLst>
              <a:gd name="T0" fmla="*/ 79322 w 418"/>
              <a:gd name="T1" fmla="*/ 0 h 417"/>
              <a:gd name="T2" fmla="*/ 79322 w 418"/>
              <a:gd name="T3" fmla="*/ 0 h 417"/>
              <a:gd name="T4" fmla="*/ 0 w 418"/>
              <a:gd name="T5" fmla="*/ 79733 h 417"/>
              <a:gd name="T6" fmla="*/ 79322 w 418"/>
              <a:gd name="T7" fmla="*/ 79733 h 417"/>
              <a:gd name="T8" fmla="*/ 79322 w 418"/>
              <a:gd name="T9" fmla="*/ 0 h 417"/>
              <a:gd name="T10" fmla="*/ 103074 w 418"/>
              <a:gd name="T11" fmla="*/ 0 h 417"/>
              <a:gd name="T12" fmla="*/ 103074 w 418"/>
              <a:gd name="T13" fmla="*/ 0 h 417"/>
              <a:gd name="T14" fmla="*/ 103074 w 418"/>
              <a:gd name="T15" fmla="*/ 91965 h 417"/>
              <a:gd name="T16" fmla="*/ 91422 w 418"/>
              <a:gd name="T17" fmla="*/ 103744 h 417"/>
              <a:gd name="T18" fmla="*/ 0 w 418"/>
              <a:gd name="T19" fmla="*/ 103744 h 417"/>
              <a:gd name="T20" fmla="*/ 91422 w 418"/>
              <a:gd name="T21" fmla="*/ 188460 h 417"/>
              <a:gd name="T22" fmla="*/ 186877 w 418"/>
              <a:gd name="T23" fmla="*/ 91965 h 417"/>
              <a:gd name="T24" fmla="*/ 103074 w 418"/>
              <a:gd name="T25" fmla="*/ 0 h 417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418" h="417">
                <a:moveTo>
                  <a:pt x="177" y="0"/>
                </a:moveTo>
                <a:lnTo>
                  <a:pt x="177" y="0"/>
                </a:lnTo>
                <a:cubicBezTo>
                  <a:pt x="80" y="9"/>
                  <a:pt x="9" y="88"/>
                  <a:pt x="0" y="176"/>
                </a:cubicBezTo>
                <a:cubicBezTo>
                  <a:pt x="177" y="176"/>
                  <a:pt x="177" y="176"/>
                  <a:pt x="177" y="176"/>
                </a:cubicBezTo>
                <a:lnTo>
                  <a:pt x="177" y="0"/>
                </a:lnTo>
                <a:close/>
                <a:moveTo>
                  <a:pt x="230" y="0"/>
                </a:moveTo>
                <a:lnTo>
                  <a:pt x="230" y="0"/>
                </a:lnTo>
                <a:cubicBezTo>
                  <a:pt x="230" y="203"/>
                  <a:pt x="230" y="203"/>
                  <a:pt x="230" y="203"/>
                </a:cubicBezTo>
                <a:cubicBezTo>
                  <a:pt x="230" y="221"/>
                  <a:pt x="222" y="229"/>
                  <a:pt x="204" y="229"/>
                </a:cubicBezTo>
                <a:cubicBezTo>
                  <a:pt x="0" y="229"/>
                  <a:pt x="0" y="229"/>
                  <a:pt x="0" y="229"/>
                </a:cubicBezTo>
                <a:cubicBezTo>
                  <a:pt x="9" y="336"/>
                  <a:pt x="98" y="416"/>
                  <a:pt x="204" y="416"/>
                </a:cubicBezTo>
                <a:cubicBezTo>
                  <a:pt x="319" y="416"/>
                  <a:pt x="417" y="319"/>
                  <a:pt x="417" y="203"/>
                </a:cubicBezTo>
                <a:cubicBezTo>
                  <a:pt x="417" y="97"/>
                  <a:pt x="337" y="9"/>
                  <a:pt x="230" y="0"/>
                </a:cubicBezTo>
                <a:close/>
              </a:path>
            </a:pathLst>
          </a:custGeom>
          <a:solidFill>
            <a:srgbClr val="9AB8D9"/>
          </a:solidFill>
          <a:ln>
            <a:noFill/>
          </a:ln>
          <a:effectLst/>
          <a:extLst/>
        </p:spPr>
        <p:txBody>
          <a:bodyPr wrap="none" lIns="34291" tIns="17145" rIns="34291" bIns="17145" anchor="ctr"/>
          <a:lstStyle/>
          <a:p>
            <a:endParaRPr lang="en-US"/>
          </a:p>
        </p:txBody>
      </p:sp>
      <p:grpSp>
        <p:nvGrpSpPr>
          <p:cNvPr id="97" name="Group 258">
            <a:extLst>
              <a:ext uri="{FF2B5EF4-FFF2-40B4-BE49-F238E27FC236}">
                <a16:creationId xmlns:a16="http://schemas.microsoft.com/office/drawing/2014/main" id="{FB864D82-A4EC-BC42-95D4-1B5C6D16F91C}"/>
              </a:ext>
            </a:extLst>
          </p:cNvPr>
          <p:cNvGrpSpPr/>
          <p:nvPr/>
        </p:nvGrpSpPr>
        <p:grpSpPr>
          <a:xfrm>
            <a:off x="7042863" y="3527233"/>
            <a:ext cx="522359" cy="559058"/>
            <a:chOff x="3281363" y="4062413"/>
            <a:chExt cx="677863" cy="725487"/>
          </a:xfrm>
          <a:solidFill>
            <a:srgbClr val="6F6F6E"/>
          </a:solidFill>
        </p:grpSpPr>
        <p:sp>
          <p:nvSpPr>
            <p:cNvPr id="98" name="Rectangle 250">
              <a:extLst>
                <a:ext uri="{FF2B5EF4-FFF2-40B4-BE49-F238E27FC236}">
                  <a16:creationId xmlns:a16="http://schemas.microsoft.com/office/drawing/2014/main" id="{FB059D03-88ED-684C-8A23-2178B099CC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1363" y="4762500"/>
              <a:ext cx="669925" cy="254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99" name="Freeform 251">
              <a:extLst>
                <a:ext uri="{FF2B5EF4-FFF2-40B4-BE49-F238E27FC236}">
                  <a16:creationId xmlns:a16="http://schemas.microsoft.com/office/drawing/2014/main" id="{B57E09D6-98C9-8247-AD09-AEF8F91263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2638" y="4206875"/>
              <a:ext cx="588963" cy="519113"/>
            </a:xfrm>
            <a:custGeom>
              <a:avLst/>
              <a:gdLst>
                <a:gd name="T0" fmla="*/ 86 w 325"/>
                <a:gd name="T1" fmla="*/ 116 h 286"/>
                <a:gd name="T2" fmla="*/ 86 w 325"/>
                <a:gd name="T3" fmla="*/ 286 h 286"/>
                <a:gd name="T4" fmla="*/ 151 w 325"/>
                <a:gd name="T5" fmla="*/ 286 h 286"/>
                <a:gd name="T6" fmla="*/ 151 w 325"/>
                <a:gd name="T7" fmla="*/ 68 h 286"/>
                <a:gd name="T8" fmla="*/ 143 w 325"/>
                <a:gd name="T9" fmla="*/ 59 h 286"/>
                <a:gd name="T10" fmla="*/ 86 w 325"/>
                <a:gd name="T11" fmla="*/ 116 h 286"/>
                <a:gd name="T12" fmla="*/ 0 w 325"/>
                <a:gd name="T13" fmla="*/ 203 h 286"/>
                <a:gd name="T14" fmla="*/ 0 w 325"/>
                <a:gd name="T15" fmla="*/ 286 h 286"/>
                <a:gd name="T16" fmla="*/ 64 w 325"/>
                <a:gd name="T17" fmla="*/ 286 h 286"/>
                <a:gd name="T18" fmla="*/ 64 w 325"/>
                <a:gd name="T19" fmla="*/ 138 h 286"/>
                <a:gd name="T20" fmla="*/ 0 w 325"/>
                <a:gd name="T21" fmla="*/ 203 h 286"/>
                <a:gd name="T22" fmla="*/ 200 w 325"/>
                <a:gd name="T23" fmla="*/ 103 h 286"/>
                <a:gd name="T24" fmla="*/ 177 w 325"/>
                <a:gd name="T25" fmla="*/ 94 h 286"/>
                <a:gd name="T26" fmla="*/ 173 w 325"/>
                <a:gd name="T27" fmla="*/ 90 h 286"/>
                <a:gd name="T28" fmla="*/ 173 w 325"/>
                <a:gd name="T29" fmla="*/ 286 h 286"/>
                <a:gd name="T30" fmla="*/ 238 w 325"/>
                <a:gd name="T31" fmla="*/ 286 h 286"/>
                <a:gd name="T32" fmla="*/ 238 w 325"/>
                <a:gd name="T33" fmla="*/ 78 h 286"/>
                <a:gd name="T34" fmla="*/ 222 w 325"/>
                <a:gd name="T35" fmla="*/ 94 h 286"/>
                <a:gd name="T36" fmla="*/ 200 w 325"/>
                <a:gd name="T37" fmla="*/ 103 h 286"/>
                <a:gd name="T38" fmla="*/ 315 w 325"/>
                <a:gd name="T39" fmla="*/ 0 h 286"/>
                <a:gd name="T40" fmla="*/ 260 w 325"/>
                <a:gd name="T41" fmla="*/ 56 h 286"/>
                <a:gd name="T42" fmla="*/ 260 w 325"/>
                <a:gd name="T43" fmla="*/ 286 h 286"/>
                <a:gd name="T44" fmla="*/ 325 w 325"/>
                <a:gd name="T45" fmla="*/ 286 h 286"/>
                <a:gd name="T46" fmla="*/ 325 w 325"/>
                <a:gd name="T47" fmla="*/ 10 h 286"/>
                <a:gd name="T48" fmla="*/ 315 w 325"/>
                <a:gd name="T49" fmla="*/ 0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25" h="286">
                  <a:moveTo>
                    <a:pt x="86" y="116"/>
                  </a:moveTo>
                  <a:cubicBezTo>
                    <a:pt x="86" y="286"/>
                    <a:pt x="86" y="286"/>
                    <a:pt x="86" y="286"/>
                  </a:cubicBezTo>
                  <a:cubicBezTo>
                    <a:pt x="151" y="286"/>
                    <a:pt x="151" y="286"/>
                    <a:pt x="151" y="286"/>
                  </a:cubicBezTo>
                  <a:cubicBezTo>
                    <a:pt x="151" y="68"/>
                    <a:pt x="151" y="68"/>
                    <a:pt x="151" y="68"/>
                  </a:cubicBezTo>
                  <a:cubicBezTo>
                    <a:pt x="143" y="59"/>
                    <a:pt x="143" y="59"/>
                    <a:pt x="143" y="59"/>
                  </a:cubicBezTo>
                  <a:lnTo>
                    <a:pt x="86" y="116"/>
                  </a:lnTo>
                  <a:close/>
                  <a:moveTo>
                    <a:pt x="0" y="203"/>
                  </a:moveTo>
                  <a:cubicBezTo>
                    <a:pt x="0" y="286"/>
                    <a:pt x="0" y="286"/>
                    <a:pt x="0" y="286"/>
                  </a:cubicBezTo>
                  <a:cubicBezTo>
                    <a:pt x="64" y="286"/>
                    <a:pt x="64" y="286"/>
                    <a:pt x="64" y="286"/>
                  </a:cubicBezTo>
                  <a:cubicBezTo>
                    <a:pt x="64" y="138"/>
                    <a:pt x="64" y="138"/>
                    <a:pt x="64" y="138"/>
                  </a:cubicBezTo>
                  <a:lnTo>
                    <a:pt x="0" y="203"/>
                  </a:lnTo>
                  <a:close/>
                  <a:moveTo>
                    <a:pt x="200" y="103"/>
                  </a:moveTo>
                  <a:cubicBezTo>
                    <a:pt x="191" y="103"/>
                    <a:pt x="183" y="100"/>
                    <a:pt x="177" y="94"/>
                  </a:cubicBezTo>
                  <a:cubicBezTo>
                    <a:pt x="173" y="90"/>
                    <a:pt x="173" y="90"/>
                    <a:pt x="173" y="90"/>
                  </a:cubicBezTo>
                  <a:cubicBezTo>
                    <a:pt x="173" y="286"/>
                    <a:pt x="173" y="286"/>
                    <a:pt x="173" y="286"/>
                  </a:cubicBezTo>
                  <a:cubicBezTo>
                    <a:pt x="238" y="286"/>
                    <a:pt x="238" y="286"/>
                    <a:pt x="238" y="286"/>
                  </a:cubicBezTo>
                  <a:cubicBezTo>
                    <a:pt x="238" y="78"/>
                    <a:pt x="238" y="78"/>
                    <a:pt x="238" y="78"/>
                  </a:cubicBezTo>
                  <a:cubicBezTo>
                    <a:pt x="222" y="94"/>
                    <a:pt x="222" y="94"/>
                    <a:pt x="222" y="94"/>
                  </a:cubicBezTo>
                  <a:cubicBezTo>
                    <a:pt x="216" y="100"/>
                    <a:pt x="208" y="103"/>
                    <a:pt x="200" y="103"/>
                  </a:cubicBezTo>
                  <a:close/>
                  <a:moveTo>
                    <a:pt x="315" y="0"/>
                  </a:moveTo>
                  <a:cubicBezTo>
                    <a:pt x="260" y="56"/>
                    <a:pt x="260" y="56"/>
                    <a:pt x="260" y="56"/>
                  </a:cubicBezTo>
                  <a:cubicBezTo>
                    <a:pt x="260" y="286"/>
                    <a:pt x="260" y="286"/>
                    <a:pt x="260" y="286"/>
                  </a:cubicBezTo>
                  <a:cubicBezTo>
                    <a:pt x="325" y="286"/>
                    <a:pt x="325" y="286"/>
                    <a:pt x="325" y="286"/>
                  </a:cubicBezTo>
                  <a:cubicBezTo>
                    <a:pt x="325" y="10"/>
                    <a:pt x="325" y="10"/>
                    <a:pt x="325" y="10"/>
                  </a:cubicBezTo>
                  <a:lnTo>
                    <a:pt x="3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00" name="Freeform 252">
              <a:extLst>
                <a:ext uri="{FF2B5EF4-FFF2-40B4-BE49-F238E27FC236}">
                  <a16:creationId xmlns:a16="http://schemas.microsoft.com/office/drawing/2014/main" id="{3D158015-E3ED-F647-9F07-BD0A3764B6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82951" y="4062413"/>
              <a:ext cx="676275" cy="471488"/>
            </a:xfrm>
            <a:custGeom>
              <a:avLst/>
              <a:gdLst>
                <a:gd name="T0" fmla="*/ 23 w 373"/>
                <a:gd name="T1" fmla="*/ 260 h 260"/>
                <a:gd name="T2" fmla="*/ 23 w 373"/>
                <a:gd name="T3" fmla="*/ 260 h 260"/>
                <a:gd name="T4" fmla="*/ 23 w 373"/>
                <a:gd name="T5" fmla="*/ 260 h 260"/>
                <a:gd name="T6" fmla="*/ 288 w 373"/>
                <a:gd name="T7" fmla="*/ 10 h 260"/>
                <a:gd name="T8" fmla="*/ 314 w 373"/>
                <a:gd name="T9" fmla="*/ 36 h 260"/>
                <a:gd name="T10" fmla="*/ 222 w 373"/>
                <a:gd name="T11" fmla="*/ 128 h 260"/>
                <a:gd name="T12" fmla="*/ 177 w 373"/>
                <a:gd name="T13" fmla="*/ 83 h 260"/>
                <a:gd name="T14" fmla="*/ 153 w 373"/>
                <a:gd name="T15" fmla="*/ 83 h 260"/>
                <a:gd name="T16" fmla="*/ 0 w 373"/>
                <a:gd name="T17" fmla="*/ 237 h 260"/>
                <a:gd name="T18" fmla="*/ 23 w 373"/>
                <a:gd name="T19" fmla="*/ 260 h 260"/>
                <a:gd name="T20" fmla="*/ 165 w 373"/>
                <a:gd name="T21" fmla="*/ 119 h 260"/>
                <a:gd name="T22" fmla="*/ 210 w 373"/>
                <a:gd name="T23" fmla="*/ 163 h 260"/>
                <a:gd name="T24" fmla="*/ 222 w 373"/>
                <a:gd name="T25" fmla="*/ 168 h 260"/>
                <a:gd name="T26" fmla="*/ 233 w 373"/>
                <a:gd name="T27" fmla="*/ 163 h 260"/>
                <a:gd name="T28" fmla="*/ 337 w 373"/>
                <a:gd name="T29" fmla="*/ 59 h 260"/>
                <a:gd name="T30" fmla="*/ 363 w 373"/>
                <a:gd name="T31" fmla="*/ 85 h 260"/>
                <a:gd name="T32" fmla="*/ 373 w 373"/>
                <a:gd name="T33" fmla="*/ 0 h 260"/>
                <a:gd name="T34" fmla="*/ 288 w 373"/>
                <a:gd name="T35" fmla="*/ 1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73" h="260">
                  <a:moveTo>
                    <a:pt x="23" y="260"/>
                  </a:moveTo>
                  <a:cubicBezTo>
                    <a:pt x="23" y="260"/>
                    <a:pt x="23" y="260"/>
                    <a:pt x="23" y="260"/>
                  </a:cubicBezTo>
                  <a:cubicBezTo>
                    <a:pt x="23" y="260"/>
                    <a:pt x="23" y="260"/>
                    <a:pt x="23" y="260"/>
                  </a:cubicBezTo>
                  <a:close/>
                  <a:moveTo>
                    <a:pt x="288" y="10"/>
                  </a:moveTo>
                  <a:cubicBezTo>
                    <a:pt x="314" y="36"/>
                    <a:pt x="314" y="36"/>
                    <a:pt x="314" y="36"/>
                  </a:cubicBezTo>
                  <a:cubicBezTo>
                    <a:pt x="222" y="128"/>
                    <a:pt x="222" y="128"/>
                    <a:pt x="222" y="128"/>
                  </a:cubicBezTo>
                  <a:cubicBezTo>
                    <a:pt x="177" y="83"/>
                    <a:pt x="177" y="83"/>
                    <a:pt x="177" y="83"/>
                  </a:cubicBezTo>
                  <a:cubicBezTo>
                    <a:pt x="170" y="77"/>
                    <a:pt x="160" y="77"/>
                    <a:pt x="153" y="83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23" y="260"/>
                    <a:pt x="23" y="260"/>
                    <a:pt x="23" y="260"/>
                  </a:cubicBezTo>
                  <a:cubicBezTo>
                    <a:pt x="165" y="119"/>
                    <a:pt x="165" y="119"/>
                    <a:pt x="165" y="119"/>
                  </a:cubicBezTo>
                  <a:cubicBezTo>
                    <a:pt x="210" y="163"/>
                    <a:pt x="210" y="163"/>
                    <a:pt x="210" y="163"/>
                  </a:cubicBezTo>
                  <a:cubicBezTo>
                    <a:pt x="213" y="167"/>
                    <a:pt x="217" y="168"/>
                    <a:pt x="222" y="168"/>
                  </a:cubicBezTo>
                  <a:cubicBezTo>
                    <a:pt x="226" y="168"/>
                    <a:pt x="230" y="167"/>
                    <a:pt x="233" y="163"/>
                  </a:cubicBezTo>
                  <a:cubicBezTo>
                    <a:pt x="337" y="59"/>
                    <a:pt x="337" y="59"/>
                    <a:pt x="337" y="59"/>
                  </a:cubicBezTo>
                  <a:cubicBezTo>
                    <a:pt x="363" y="85"/>
                    <a:pt x="363" y="85"/>
                    <a:pt x="363" y="85"/>
                  </a:cubicBezTo>
                  <a:cubicBezTo>
                    <a:pt x="373" y="0"/>
                    <a:pt x="373" y="0"/>
                    <a:pt x="373" y="0"/>
                  </a:cubicBezTo>
                  <a:lnTo>
                    <a:pt x="288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</p:grpSp>
      <p:grpSp>
        <p:nvGrpSpPr>
          <p:cNvPr id="101" name="Group 205">
            <a:extLst>
              <a:ext uri="{FF2B5EF4-FFF2-40B4-BE49-F238E27FC236}">
                <a16:creationId xmlns:a16="http://schemas.microsoft.com/office/drawing/2014/main" id="{4705EB61-06F3-DB4D-94B1-BDF0D6662EDC}"/>
              </a:ext>
            </a:extLst>
          </p:cNvPr>
          <p:cNvGrpSpPr/>
          <p:nvPr/>
        </p:nvGrpSpPr>
        <p:grpSpPr>
          <a:xfrm>
            <a:off x="11077705" y="3699421"/>
            <a:ext cx="591182" cy="440026"/>
            <a:chOff x="465138" y="4824413"/>
            <a:chExt cx="558800" cy="415924"/>
          </a:xfrm>
          <a:solidFill>
            <a:srgbClr val="7F7F7E"/>
          </a:solidFill>
        </p:grpSpPr>
        <p:sp>
          <p:nvSpPr>
            <p:cNvPr id="102" name="Freeform 182">
              <a:extLst>
                <a:ext uri="{FF2B5EF4-FFF2-40B4-BE49-F238E27FC236}">
                  <a16:creationId xmlns:a16="http://schemas.microsoft.com/office/drawing/2014/main" id="{2901F4BD-1E8D-2B42-9613-5BB9235E5C3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138" y="5203825"/>
              <a:ext cx="558800" cy="36512"/>
            </a:xfrm>
            <a:custGeom>
              <a:avLst/>
              <a:gdLst>
                <a:gd name="T0" fmla="*/ 352 w 352"/>
                <a:gd name="T1" fmla="*/ 0 h 23"/>
                <a:gd name="T2" fmla="*/ 231 w 352"/>
                <a:gd name="T3" fmla="*/ 0 h 23"/>
                <a:gd name="T4" fmla="*/ 231 w 352"/>
                <a:gd name="T5" fmla="*/ 0 h 23"/>
                <a:gd name="T6" fmla="*/ 229 w 352"/>
                <a:gd name="T7" fmla="*/ 3 h 23"/>
                <a:gd name="T8" fmla="*/ 225 w 352"/>
                <a:gd name="T9" fmla="*/ 3 h 23"/>
                <a:gd name="T10" fmla="*/ 126 w 352"/>
                <a:gd name="T11" fmla="*/ 3 h 23"/>
                <a:gd name="T12" fmla="*/ 126 w 352"/>
                <a:gd name="T13" fmla="*/ 3 h 23"/>
                <a:gd name="T14" fmla="*/ 124 w 352"/>
                <a:gd name="T15" fmla="*/ 3 h 23"/>
                <a:gd name="T16" fmla="*/ 122 w 352"/>
                <a:gd name="T17" fmla="*/ 0 h 23"/>
                <a:gd name="T18" fmla="*/ 0 w 352"/>
                <a:gd name="T19" fmla="*/ 0 h 23"/>
                <a:gd name="T20" fmla="*/ 0 w 352"/>
                <a:gd name="T21" fmla="*/ 0 h 23"/>
                <a:gd name="T22" fmla="*/ 0 w 352"/>
                <a:gd name="T23" fmla="*/ 1 h 23"/>
                <a:gd name="T24" fmla="*/ 0 w 352"/>
                <a:gd name="T25" fmla="*/ 7 h 23"/>
                <a:gd name="T26" fmla="*/ 0 w 352"/>
                <a:gd name="T27" fmla="*/ 7 h 23"/>
                <a:gd name="T28" fmla="*/ 1 w 352"/>
                <a:gd name="T29" fmla="*/ 12 h 23"/>
                <a:gd name="T30" fmla="*/ 5 w 352"/>
                <a:gd name="T31" fmla="*/ 18 h 23"/>
                <a:gd name="T32" fmla="*/ 11 w 352"/>
                <a:gd name="T33" fmla="*/ 22 h 23"/>
                <a:gd name="T34" fmla="*/ 16 w 352"/>
                <a:gd name="T35" fmla="*/ 23 h 23"/>
                <a:gd name="T36" fmla="*/ 335 w 352"/>
                <a:gd name="T37" fmla="*/ 23 h 23"/>
                <a:gd name="T38" fmla="*/ 335 w 352"/>
                <a:gd name="T39" fmla="*/ 23 h 23"/>
                <a:gd name="T40" fmla="*/ 343 w 352"/>
                <a:gd name="T41" fmla="*/ 22 h 23"/>
                <a:gd name="T42" fmla="*/ 348 w 352"/>
                <a:gd name="T43" fmla="*/ 18 h 23"/>
                <a:gd name="T44" fmla="*/ 352 w 352"/>
                <a:gd name="T45" fmla="*/ 12 h 23"/>
                <a:gd name="T46" fmla="*/ 352 w 352"/>
                <a:gd name="T47" fmla="*/ 7 h 23"/>
                <a:gd name="T48" fmla="*/ 352 w 352"/>
                <a:gd name="T49" fmla="*/ 1 h 23"/>
                <a:gd name="T50" fmla="*/ 352 w 352"/>
                <a:gd name="T51" fmla="*/ 1 h 23"/>
                <a:gd name="T52" fmla="*/ 352 w 352"/>
                <a:gd name="T53" fmla="*/ 0 h 23"/>
                <a:gd name="T54" fmla="*/ 352 w 352"/>
                <a:gd name="T5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52" h="23">
                  <a:moveTo>
                    <a:pt x="352" y="0"/>
                  </a:moveTo>
                  <a:lnTo>
                    <a:pt x="231" y="0"/>
                  </a:lnTo>
                  <a:lnTo>
                    <a:pt x="231" y="0"/>
                  </a:lnTo>
                  <a:lnTo>
                    <a:pt x="229" y="3"/>
                  </a:lnTo>
                  <a:lnTo>
                    <a:pt x="225" y="3"/>
                  </a:lnTo>
                  <a:lnTo>
                    <a:pt x="126" y="3"/>
                  </a:lnTo>
                  <a:lnTo>
                    <a:pt x="126" y="3"/>
                  </a:lnTo>
                  <a:lnTo>
                    <a:pt x="124" y="3"/>
                  </a:lnTo>
                  <a:lnTo>
                    <a:pt x="12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7"/>
                  </a:lnTo>
                  <a:lnTo>
                    <a:pt x="0" y="7"/>
                  </a:lnTo>
                  <a:lnTo>
                    <a:pt x="1" y="12"/>
                  </a:lnTo>
                  <a:lnTo>
                    <a:pt x="5" y="18"/>
                  </a:lnTo>
                  <a:lnTo>
                    <a:pt x="11" y="22"/>
                  </a:lnTo>
                  <a:lnTo>
                    <a:pt x="16" y="23"/>
                  </a:lnTo>
                  <a:lnTo>
                    <a:pt x="335" y="23"/>
                  </a:lnTo>
                  <a:lnTo>
                    <a:pt x="335" y="23"/>
                  </a:lnTo>
                  <a:lnTo>
                    <a:pt x="343" y="22"/>
                  </a:lnTo>
                  <a:lnTo>
                    <a:pt x="348" y="18"/>
                  </a:lnTo>
                  <a:lnTo>
                    <a:pt x="352" y="12"/>
                  </a:lnTo>
                  <a:lnTo>
                    <a:pt x="352" y="7"/>
                  </a:lnTo>
                  <a:lnTo>
                    <a:pt x="352" y="1"/>
                  </a:lnTo>
                  <a:lnTo>
                    <a:pt x="352" y="1"/>
                  </a:lnTo>
                  <a:lnTo>
                    <a:pt x="352" y="0"/>
                  </a:lnTo>
                  <a:lnTo>
                    <a:pt x="35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03" name="Freeform 183">
              <a:extLst>
                <a:ext uri="{FF2B5EF4-FFF2-40B4-BE49-F238E27FC236}">
                  <a16:creationId xmlns:a16="http://schemas.microsoft.com/office/drawing/2014/main" id="{532BAC11-EC70-FF4E-8E6B-126F75024B6D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075" y="4894263"/>
              <a:ext cx="55562" cy="28575"/>
            </a:xfrm>
            <a:custGeom>
              <a:avLst/>
              <a:gdLst>
                <a:gd name="T0" fmla="*/ 0 w 35"/>
                <a:gd name="T1" fmla="*/ 0 h 18"/>
                <a:gd name="T2" fmla="*/ 0 w 35"/>
                <a:gd name="T3" fmla="*/ 0 h 18"/>
                <a:gd name="T4" fmla="*/ 0 w 35"/>
                <a:gd name="T5" fmla="*/ 0 h 18"/>
                <a:gd name="T6" fmla="*/ 16 w 35"/>
                <a:gd name="T7" fmla="*/ 18 h 18"/>
                <a:gd name="T8" fmla="*/ 16 w 35"/>
                <a:gd name="T9" fmla="*/ 18 h 18"/>
                <a:gd name="T10" fmla="*/ 35 w 35"/>
                <a:gd name="T11" fmla="*/ 0 h 18"/>
                <a:gd name="T12" fmla="*/ 0 w 35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18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3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04" name="Freeform 184">
              <a:extLst>
                <a:ext uri="{FF2B5EF4-FFF2-40B4-BE49-F238E27FC236}">
                  <a16:creationId xmlns:a16="http://schemas.microsoft.com/office/drawing/2014/main" id="{B2EEAC5D-84A2-F94C-8FAB-EC204D52BA3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000" y="4894263"/>
              <a:ext cx="471487" cy="296862"/>
            </a:xfrm>
            <a:custGeom>
              <a:avLst/>
              <a:gdLst>
                <a:gd name="T0" fmla="*/ 290 w 297"/>
                <a:gd name="T1" fmla="*/ 0 h 187"/>
                <a:gd name="T2" fmla="*/ 239 w 297"/>
                <a:gd name="T3" fmla="*/ 0 h 187"/>
                <a:gd name="T4" fmla="*/ 228 w 297"/>
                <a:gd name="T5" fmla="*/ 18 h 187"/>
                <a:gd name="T6" fmla="*/ 279 w 297"/>
                <a:gd name="T7" fmla="*/ 18 h 187"/>
                <a:gd name="T8" fmla="*/ 279 w 297"/>
                <a:gd name="T9" fmla="*/ 169 h 187"/>
                <a:gd name="T10" fmla="*/ 18 w 297"/>
                <a:gd name="T11" fmla="*/ 169 h 187"/>
                <a:gd name="T12" fmla="*/ 18 w 297"/>
                <a:gd name="T13" fmla="*/ 18 h 187"/>
                <a:gd name="T14" fmla="*/ 46 w 297"/>
                <a:gd name="T15" fmla="*/ 18 h 187"/>
                <a:gd name="T16" fmla="*/ 46 w 297"/>
                <a:gd name="T17" fmla="*/ 18 h 187"/>
                <a:gd name="T18" fmla="*/ 42 w 297"/>
                <a:gd name="T19" fmla="*/ 9 h 187"/>
                <a:gd name="T20" fmla="*/ 39 w 297"/>
                <a:gd name="T21" fmla="*/ 0 h 187"/>
                <a:gd name="T22" fmla="*/ 7 w 297"/>
                <a:gd name="T23" fmla="*/ 0 h 187"/>
                <a:gd name="T24" fmla="*/ 7 w 297"/>
                <a:gd name="T25" fmla="*/ 0 h 187"/>
                <a:gd name="T26" fmla="*/ 6 w 297"/>
                <a:gd name="T27" fmla="*/ 0 h 187"/>
                <a:gd name="T28" fmla="*/ 2 w 297"/>
                <a:gd name="T29" fmla="*/ 2 h 187"/>
                <a:gd name="T30" fmla="*/ 2 w 297"/>
                <a:gd name="T31" fmla="*/ 4 h 187"/>
                <a:gd name="T32" fmla="*/ 0 w 297"/>
                <a:gd name="T33" fmla="*/ 7 h 187"/>
                <a:gd name="T34" fmla="*/ 0 w 297"/>
                <a:gd name="T35" fmla="*/ 180 h 187"/>
                <a:gd name="T36" fmla="*/ 0 w 297"/>
                <a:gd name="T37" fmla="*/ 180 h 187"/>
                <a:gd name="T38" fmla="*/ 2 w 297"/>
                <a:gd name="T39" fmla="*/ 182 h 187"/>
                <a:gd name="T40" fmla="*/ 2 w 297"/>
                <a:gd name="T41" fmla="*/ 184 h 187"/>
                <a:gd name="T42" fmla="*/ 6 w 297"/>
                <a:gd name="T43" fmla="*/ 185 h 187"/>
                <a:gd name="T44" fmla="*/ 7 w 297"/>
                <a:gd name="T45" fmla="*/ 187 h 187"/>
                <a:gd name="T46" fmla="*/ 290 w 297"/>
                <a:gd name="T47" fmla="*/ 187 h 187"/>
                <a:gd name="T48" fmla="*/ 290 w 297"/>
                <a:gd name="T49" fmla="*/ 187 h 187"/>
                <a:gd name="T50" fmla="*/ 294 w 297"/>
                <a:gd name="T51" fmla="*/ 185 h 187"/>
                <a:gd name="T52" fmla="*/ 296 w 297"/>
                <a:gd name="T53" fmla="*/ 184 h 187"/>
                <a:gd name="T54" fmla="*/ 297 w 297"/>
                <a:gd name="T55" fmla="*/ 182 h 187"/>
                <a:gd name="T56" fmla="*/ 297 w 297"/>
                <a:gd name="T57" fmla="*/ 180 h 187"/>
                <a:gd name="T58" fmla="*/ 297 w 297"/>
                <a:gd name="T59" fmla="*/ 7 h 187"/>
                <a:gd name="T60" fmla="*/ 297 w 297"/>
                <a:gd name="T61" fmla="*/ 7 h 187"/>
                <a:gd name="T62" fmla="*/ 297 w 297"/>
                <a:gd name="T63" fmla="*/ 4 h 187"/>
                <a:gd name="T64" fmla="*/ 296 w 297"/>
                <a:gd name="T65" fmla="*/ 2 h 187"/>
                <a:gd name="T66" fmla="*/ 294 w 297"/>
                <a:gd name="T67" fmla="*/ 0 h 187"/>
                <a:gd name="T68" fmla="*/ 290 w 297"/>
                <a:gd name="T69" fmla="*/ 0 h 187"/>
                <a:gd name="T70" fmla="*/ 290 w 297"/>
                <a:gd name="T71" fmla="*/ 0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97" h="187">
                  <a:moveTo>
                    <a:pt x="290" y="0"/>
                  </a:moveTo>
                  <a:lnTo>
                    <a:pt x="239" y="0"/>
                  </a:lnTo>
                  <a:lnTo>
                    <a:pt x="228" y="18"/>
                  </a:lnTo>
                  <a:lnTo>
                    <a:pt x="279" y="18"/>
                  </a:lnTo>
                  <a:lnTo>
                    <a:pt x="279" y="169"/>
                  </a:lnTo>
                  <a:lnTo>
                    <a:pt x="18" y="169"/>
                  </a:lnTo>
                  <a:lnTo>
                    <a:pt x="18" y="18"/>
                  </a:lnTo>
                  <a:lnTo>
                    <a:pt x="46" y="18"/>
                  </a:lnTo>
                  <a:lnTo>
                    <a:pt x="46" y="18"/>
                  </a:lnTo>
                  <a:lnTo>
                    <a:pt x="42" y="9"/>
                  </a:lnTo>
                  <a:lnTo>
                    <a:pt x="39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2" y="4"/>
                  </a:lnTo>
                  <a:lnTo>
                    <a:pt x="0" y="7"/>
                  </a:lnTo>
                  <a:lnTo>
                    <a:pt x="0" y="180"/>
                  </a:lnTo>
                  <a:lnTo>
                    <a:pt x="0" y="180"/>
                  </a:lnTo>
                  <a:lnTo>
                    <a:pt x="2" y="182"/>
                  </a:lnTo>
                  <a:lnTo>
                    <a:pt x="2" y="184"/>
                  </a:lnTo>
                  <a:lnTo>
                    <a:pt x="6" y="185"/>
                  </a:lnTo>
                  <a:lnTo>
                    <a:pt x="7" y="187"/>
                  </a:lnTo>
                  <a:lnTo>
                    <a:pt x="290" y="187"/>
                  </a:lnTo>
                  <a:lnTo>
                    <a:pt x="290" y="187"/>
                  </a:lnTo>
                  <a:lnTo>
                    <a:pt x="294" y="185"/>
                  </a:lnTo>
                  <a:lnTo>
                    <a:pt x="296" y="184"/>
                  </a:lnTo>
                  <a:lnTo>
                    <a:pt x="297" y="182"/>
                  </a:lnTo>
                  <a:lnTo>
                    <a:pt x="297" y="180"/>
                  </a:lnTo>
                  <a:lnTo>
                    <a:pt x="297" y="7"/>
                  </a:lnTo>
                  <a:lnTo>
                    <a:pt x="297" y="7"/>
                  </a:lnTo>
                  <a:lnTo>
                    <a:pt x="297" y="4"/>
                  </a:lnTo>
                  <a:lnTo>
                    <a:pt x="296" y="2"/>
                  </a:lnTo>
                  <a:lnTo>
                    <a:pt x="294" y="0"/>
                  </a:lnTo>
                  <a:lnTo>
                    <a:pt x="290" y="0"/>
                  </a:lnTo>
                  <a:lnTo>
                    <a:pt x="29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05" name="Freeform 185">
              <a:extLst>
                <a:ext uri="{FF2B5EF4-FFF2-40B4-BE49-F238E27FC236}">
                  <a16:creationId xmlns:a16="http://schemas.microsoft.com/office/drawing/2014/main" id="{470F5506-68CB-7A42-A2EE-F4DB3629AB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138" y="4824413"/>
              <a:ext cx="303212" cy="306387"/>
            </a:xfrm>
            <a:custGeom>
              <a:avLst/>
              <a:gdLst>
                <a:gd name="T0" fmla="*/ 182 w 191"/>
                <a:gd name="T1" fmla="*/ 132 h 193"/>
                <a:gd name="T2" fmla="*/ 164 w 191"/>
                <a:gd name="T3" fmla="*/ 123 h 193"/>
                <a:gd name="T4" fmla="*/ 143 w 191"/>
                <a:gd name="T5" fmla="*/ 125 h 193"/>
                <a:gd name="T6" fmla="*/ 153 w 191"/>
                <a:gd name="T7" fmla="*/ 55 h 193"/>
                <a:gd name="T8" fmla="*/ 182 w 191"/>
                <a:gd name="T9" fmla="*/ 24 h 193"/>
                <a:gd name="T10" fmla="*/ 142 w 191"/>
                <a:gd name="T11" fmla="*/ 33 h 193"/>
                <a:gd name="T12" fmla="*/ 101 w 191"/>
                <a:gd name="T13" fmla="*/ 83 h 193"/>
                <a:gd name="T14" fmla="*/ 68 w 191"/>
                <a:gd name="T15" fmla="*/ 50 h 193"/>
                <a:gd name="T16" fmla="*/ 70 w 191"/>
                <a:gd name="T17" fmla="*/ 29 h 193"/>
                <a:gd name="T18" fmla="*/ 61 w 191"/>
                <a:gd name="T19" fmla="*/ 11 h 193"/>
                <a:gd name="T20" fmla="*/ 55 w 191"/>
                <a:gd name="T21" fmla="*/ 7 h 193"/>
                <a:gd name="T22" fmla="*/ 44 w 191"/>
                <a:gd name="T23" fmla="*/ 2 h 193"/>
                <a:gd name="T24" fmla="*/ 52 w 191"/>
                <a:gd name="T25" fmla="*/ 15 h 193"/>
                <a:gd name="T26" fmla="*/ 22 w 191"/>
                <a:gd name="T27" fmla="*/ 46 h 193"/>
                <a:gd name="T28" fmla="*/ 2 w 191"/>
                <a:gd name="T29" fmla="*/ 26 h 193"/>
                <a:gd name="T30" fmla="*/ 2 w 191"/>
                <a:gd name="T31" fmla="*/ 44 h 193"/>
                <a:gd name="T32" fmla="*/ 11 w 191"/>
                <a:gd name="T33" fmla="*/ 61 h 193"/>
                <a:gd name="T34" fmla="*/ 19 w 191"/>
                <a:gd name="T35" fmla="*/ 66 h 193"/>
                <a:gd name="T36" fmla="*/ 39 w 191"/>
                <a:gd name="T37" fmla="*/ 70 h 193"/>
                <a:gd name="T38" fmla="*/ 77 w 191"/>
                <a:gd name="T39" fmla="*/ 97 h 193"/>
                <a:gd name="T40" fmla="*/ 15 w 191"/>
                <a:gd name="T41" fmla="*/ 161 h 193"/>
                <a:gd name="T42" fmla="*/ 11 w 191"/>
                <a:gd name="T43" fmla="*/ 171 h 193"/>
                <a:gd name="T44" fmla="*/ 15 w 191"/>
                <a:gd name="T45" fmla="*/ 180 h 193"/>
                <a:gd name="T46" fmla="*/ 15 w 191"/>
                <a:gd name="T47" fmla="*/ 182 h 193"/>
                <a:gd name="T48" fmla="*/ 24 w 191"/>
                <a:gd name="T49" fmla="*/ 185 h 193"/>
                <a:gd name="T50" fmla="*/ 33 w 191"/>
                <a:gd name="T51" fmla="*/ 182 h 193"/>
                <a:gd name="T52" fmla="*/ 125 w 191"/>
                <a:gd name="T53" fmla="*/ 145 h 193"/>
                <a:gd name="T54" fmla="*/ 121 w 191"/>
                <a:gd name="T55" fmla="*/ 154 h 193"/>
                <a:gd name="T56" fmla="*/ 125 w 191"/>
                <a:gd name="T57" fmla="*/ 174 h 193"/>
                <a:gd name="T58" fmla="*/ 132 w 191"/>
                <a:gd name="T59" fmla="*/ 182 h 193"/>
                <a:gd name="T60" fmla="*/ 145 w 191"/>
                <a:gd name="T61" fmla="*/ 191 h 193"/>
                <a:gd name="T62" fmla="*/ 162 w 191"/>
                <a:gd name="T63" fmla="*/ 193 h 193"/>
                <a:gd name="T64" fmla="*/ 147 w 191"/>
                <a:gd name="T65" fmla="*/ 154 h 193"/>
                <a:gd name="T66" fmla="*/ 189 w 191"/>
                <a:gd name="T67" fmla="*/ 171 h 193"/>
                <a:gd name="T68" fmla="*/ 191 w 191"/>
                <a:gd name="T69" fmla="*/ 161 h 193"/>
                <a:gd name="T70" fmla="*/ 188 w 191"/>
                <a:gd name="T71" fmla="*/ 141 h 193"/>
                <a:gd name="T72" fmla="*/ 182 w 191"/>
                <a:gd name="T73" fmla="*/ 132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91" h="193">
                  <a:moveTo>
                    <a:pt x="182" y="132"/>
                  </a:moveTo>
                  <a:lnTo>
                    <a:pt x="182" y="132"/>
                  </a:lnTo>
                  <a:lnTo>
                    <a:pt x="173" y="127"/>
                  </a:lnTo>
                  <a:lnTo>
                    <a:pt x="164" y="123"/>
                  </a:lnTo>
                  <a:lnTo>
                    <a:pt x="154" y="123"/>
                  </a:lnTo>
                  <a:lnTo>
                    <a:pt x="143" y="125"/>
                  </a:lnTo>
                  <a:lnTo>
                    <a:pt x="112" y="94"/>
                  </a:lnTo>
                  <a:lnTo>
                    <a:pt x="153" y="55"/>
                  </a:lnTo>
                  <a:lnTo>
                    <a:pt x="162" y="53"/>
                  </a:lnTo>
                  <a:lnTo>
                    <a:pt x="182" y="24"/>
                  </a:lnTo>
                  <a:lnTo>
                    <a:pt x="171" y="15"/>
                  </a:lnTo>
                  <a:lnTo>
                    <a:pt x="142" y="33"/>
                  </a:lnTo>
                  <a:lnTo>
                    <a:pt x="140" y="44"/>
                  </a:lnTo>
                  <a:lnTo>
                    <a:pt x="101" y="83"/>
                  </a:lnTo>
                  <a:lnTo>
                    <a:pt x="68" y="50"/>
                  </a:lnTo>
                  <a:lnTo>
                    <a:pt x="68" y="50"/>
                  </a:lnTo>
                  <a:lnTo>
                    <a:pt x="70" y="39"/>
                  </a:lnTo>
                  <a:lnTo>
                    <a:pt x="70" y="29"/>
                  </a:lnTo>
                  <a:lnTo>
                    <a:pt x="66" y="20"/>
                  </a:lnTo>
                  <a:lnTo>
                    <a:pt x="61" y="11"/>
                  </a:lnTo>
                  <a:lnTo>
                    <a:pt x="61" y="11"/>
                  </a:lnTo>
                  <a:lnTo>
                    <a:pt x="55" y="7"/>
                  </a:lnTo>
                  <a:lnTo>
                    <a:pt x="50" y="4"/>
                  </a:lnTo>
                  <a:lnTo>
                    <a:pt x="44" y="2"/>
                  </a:lnTo>
                  <a:lnTo>
                    <a:pt x="37" y="0"/>
                  </a:lnTo>
                  <a:lnTo>
                    <a:pt x="52" y="15"/>
                  </a:lnTo>
                  <a:lnTo>
                    <a:pt x="46" y="39"/>
                  </a:lnTo>
                  <a:lnTo>
                    <a:pt x="22" y="4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0" y="35"/>
                  </a:lnTo>
                  <a:lnTo>
                    <a:pt x="2" y="44"/>
                  </a:lnTo>
                  <a:lnTo>
                    <a:pt x="4" y="53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9" y="66"/>
                  </a:lnTo>
                  <a:lnTo>
                    <a:pt x="28" y="70"/>
                  </a:lnTo>
                  <a:lnTo>
                    <a:pt x="39" y="70"/>
                  </a:lnTo>
                  <a:lnTo>
                    <a:pt x="48" y="68"/>
                  </a:lnTo>
                  <a:lnTo>
                    <a:pt x="77" y="97"/>
                  </a:lnTo>
                  <a:lnTo>
                    <a:pt x="15" y="161"/>
                  </a:lnTo>
                  <a:lnTo>
                    <a:pt x="15" y="161"/>
                  </a:lnTo>
                  <a:lnTo>
                    <a:pt x="11" y="165"/>
                  </a:lnTo>
                  <a:lnTo>
                    <a:pt x="11" y="171"/>
                  </a:lnTo>
                  <a:lnTo>
                    <a:pt x="11" y="176"/>
                  </a:lnTo>
                  <a:lnTo>
                    <a:pt x="15" y="180"/>
                  </a:lnTo>
                  <a:lnTo>
                    <a:pt x="15" y="182"/>
                  </a:lnTo>
                  <a:lnTo>
                    <a:pt x="15" y="182"/>
                  </a:lnTo>
                  <a:lnTo>
                    <a:pt x="20" y="184"/>
                  </a:lnTo>
                  <a:lnTo>
                    <a:pt x="24" y="185"/>
                  </a:lnTo>
                  <a:lnTo>
                    <a:pt x="30" y="184"/>
                  </a:lnTo>
                  <a:lnTo>
                    <a:pt x="33" y="182"/>
                  </a:lnTo>
                  <a:lnTo>
                    <a:pt x="98" y="117"/>
                  </a:lnTo>
                  <a:lnTo>
                    <a:pt x="125" y="145"/>
                  </a:lnTo>
                  <a:lnTo>
                    <a:pt x="125" y="145"/>
                  </a:lnTo>
                  <a:lnTo>
                    <a:pt x="121" y="154"/>
                  </a:lnTo>
                  <a:lnTo>
                    <a:pt x="123" y="165"/>
                  </a:lnTo>
                  <a:lnTo>
                    <a:pt x="125" y="174"/>
                  </a:lnTo>
                  <a:lnTo>
                    <a:pt x="132" y="182"/>
                  </a:lnTo>
                  <a:lnTo>
                    <a:pt x="132" y="182"/>
                  </a:lnTo>
                  <a:lnTo>
                    <a:pt x="138" y="187"/>
                  </a:lnTo>
                  <a:lnTo>
                    <a:pt x="145" y="191"/>
                  </a:lnTo>
                  <a:lnTo>
                    <a:pt x="154" y="193"/>
                  </a:lnTo>
                  <a:lnTo>
                    <a:pt x="162" y="193"/>
                  </a:lnTo>
                  <a:lnTo>
                    <a:pt x="143" y="172"/>
                  </a:lnTo>
                  <a:lnTo>
                    <a:pt x="147" y="154"/>
                  </a:lnTo>
                  <a:lnTo>
                    <a:pt x="167" y="149"/>
                  </a:lnTo>
                  <a:lnTo>
                    <a:pt x="189" y="171"/>
                  </a:lnTo>
                  <a:lnTo>
                    <a:pt x="189" y="171"/>
                  </a:lnTo>
                  <a:lnTo>
                    <a:pt x="191" y="161"/>
                  </a:lnTo>
                  <a:lnTo>
                    <a:pt x="191" y="150"/>
                  </a:lnTo>
                  <a:lnTo>
                    <a:pt x="188" y="141"/>
                  </a:lnTo>
                  <a:lnTo>
                    <a:pt x="182" y="132"/>
                  </a:lnTo>
                  <a:lnTo>
                    <a:pt x="182" y="1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</p:grpSp>
    </p:spTree>
    <p:extLst>
      <p:ext uri="{BB962C8B-B14F-4D97-AF65-F5344CB8AC3E}">
        <p14:creationId xmlns:p14="http://schemas.microsoft.com/office/powerpoint/2010/main" val="3493751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1000" fill="hold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1000" fill="hold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0" presetID="16" presetClass="entr" presetSubtype="37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barn(outVertical)">
                                          <p:cBhvr>
                                            <p:cTn id="12" dur="5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3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14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6" dur="500"/>
                                            <p:tgtEl>
                                              <p:spTgt spid="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18" presetID="2" presetClass="entr" presetSubtype="1" fill="hold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0" dur="1000" fill="hold"/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1" dur="1000" fill="hold"/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2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23" presetID="16" presetClass="entr" presetSubtype="37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barn(outVertical)">
                                          <p:cBhvr>
                                            <p:cTn id="25" dur="500"/>
                                            <p:tgtEl>
                                              <p:spTgt spid="1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6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27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9" dur="500"/>
                                            <p:tgtEl>
                                              <p:spTgt spid="1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0" fill="hold">
                                <p:stCondLst>
                                  <p:cond delay="4000"/>
                                </p:stCondLst>
                                <p:childTnLst>
                                  <p:par>
                                    <p:cTn id="31" presetID="2" presetClass="entr" presetSubtype="1" fill="hold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33" dur="100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34" dur="100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5" fill="hold">
                                <p:stCondLst>
                                  <p:cond delay="5000"/>
                                </p:stCondLst>
                                <p:childTnLst>
                                  <p:par>
                                    <p:cTn id="36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8" dur="500"/>
                                            <p:tgtEl>
                                              <p:spTgt spid="1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9" fill="hold">
                                <p:stCondLst>
                                  <p:cond delay="5500"/>
                                </p:stCondLst>
                                <p:childTnLst>
                                  <p:par>
                                    <p:cTn id="40" presetID="2" presetClass="entr" presetSubtype="1" fill="hold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42" dur="1000" fill="hold"/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43" dur="1000" fill="hold"/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4" fill="hold">
                                <p:stCondLst>
                                  <p:cond delay="6500"/>
                                </p:stCondLst>
                                <p:childTnLst>
                                  <p:par>
                                    <p:cTn id="45" presetID="16" presetClass="entr" presetSubtype="37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barn(outVertical)">
                                          <p:cBhvr>
                                            <p:cTn id="47" dur="500"/>
                                            <p:tgtEl>
                                              <p:spTgt spid="1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8" fill="hold">
                                <p:stCondLst>
                                  <p:cond delay="7000"/>
                                </p:stCondLst>
                                <p:childTnLst>
                                  <p:par>
                                    <p:cTn id="49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1" dur="500"/>
                                            <p:tgtEl>
                                              <p:spTgt spid="1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2" fill="hold">
                                <p:stCondLst>
                                  <p:cond delay="7500"/>
                                </p:stCondLst>
                                <p:childTnLst>
                                  <p:par>
                                    <p:cTn id="53" presetID="2" presetClass="entr" presetSubtype="1" fill="hold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55" dur="1000" fill="hold"/>
                                            <p:tgtEl>
                                              <p:spTgt spid="6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56" dur="1000" fill="hold"/>
                                            <p:tgtEl>
                                              <p:spTgt spid="6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7" fill="hold">
                                <p:stCondLst>
                                  <p:cond delay="8500"/>
                                </p:stCondLst>
                                <p:childTnLst>
                                  <p:par>
                                    <p:cTn id="58" presetID="16" presetClass="entr" presetSubtype="37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barn(outVertical)">
                                          <p:cBhvr>
                                            <p:cTn id="60" dur="500"/>
                                            <p:tgtEl>
                                              <p:spTgt spid="1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1" fill="hold">
                                <p:stCondLst>
                                  <p:cond delay="9000"/>
                                </p:stCondLst>
                                <p:childTnLst>
                                  <p:par>
                                    <p:cTn id="62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4" dur="500"/>
                                            <p:tgtEl>
                                              <p:spTgt spid="1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5" fill="hold">
                                <p:stCondLst>
                                  <p:cond delay="9500"/>
                                </p:stCondLst>
                                <p:childTnLst>
                                  <p:par>
                                    <p:cTn id="66" presetID="2" presetClass="entr" presetSubtype="1" fill="hold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68" dur="1000" fill="hold"/>
                                            <p:tgtEl>
                                              <p:spTgt spid="7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69" dur="1000" fill="hold"/>
                                            <p:tgtEl>
                                              <p:spTgt spid="7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70" fill="hold">
                                <p:stCondLst>
                                  <p:cond delay="10500"/>
                                </p:stCondLst>
                                <p:childTnLst>
                                  <p:par>
                                    <p:cTn id="71" presetID="16" presetClass="entr" presetSubtype="37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barn(outVertical)">
                                          <p:cBhvr>
                                            <p:cTn id="73" dur="500"/>
                                            <p:tgtEl>
                                              <p:spTgt spid="9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74" fill="hold">
                                <p:stCondLst>
                                  <p:cond delay="11000"/>
                                </p:stCondLst>
                                <p:childTnLst>
                                  <p:par>
                                    <p:cTn id="75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7" dur="500"/>
                                            <p:tgtEl>
                                              <p:spTgt spid="9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/>
          <p:bldP spid="8" grpId="0"/>
          <p:bldP spid="10" grpId="0"/>
          <p:bldP spid="11" grpId="0"/>
          <p:bldP spid="12" grpId="0"/>
          <p:bldP spid="13" grpId="0"/>
          <p:bldP spid="14" grpId="0"/>
          <p:bldP spid="15" grpId="0"/>
          <p:bldP spid="16" grpId="0"/>
          <p:bldP spid="91" grpId="0"/>
          <p:bldP spid="92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1000" fill="hold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1000" fill="hold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0" presetID="16" presetClass="entr" presetSubtype="37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barn(outVertical)">
                                          <p:cBhvr>
                                            <p:cTn id="12" dur="5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3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14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6" dur="500"/>
                                            <p:tgtEl>
                                              <p:spTgt spid="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18" presetID="2" presetClass="entr" presetSubtype="1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0" dur="1000" fill="hold"/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1" dur="1000" fill="hold"/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2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23" presetID="16" presetClass="entr" presetSubtype="37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barn(outVertical)">
                                          <p:cBhvr>
                                            <p:cTn id="25" dur="500"/>
                                            <p:tgtEl>
                                              <p:spTgt spid="1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6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27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9" dur="500"/>
                                            <p:tgtEl>
                                              <p:spTgt spid="1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0" fill="hold">
                                <p:stCondLst>
                                  <p:cond delay="4000"/>
                                </p:stCondLst>
                                <p:childTnLst>
                                  <p:par>
                                    <p:cTn id="31" presetID="2" presetClass="entr" presetSubtype="1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3" dur="100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4" dur="100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5" fill="hold">
                                <p:stCondLst>
                                  <p:cond delay="5000"/>
                                </p:stCondLst>
                                <p:childTnLst>
                                  <p:par>
                                    <p:cTn id="36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8" dur="500"/>
                                            <p:tgtEl>
                                              <p:spTgt spid="1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9" fill="hold">
                                <p:stCondLst>
                                  <p:cond delay="5500"/>
                                </p:stCondLst>
                                <p:childTnLst>
                                  <p:par>
                                    <p:cTn id="40" presetID="2" presetClass="entr" presetSubtype="1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2" dur="1000" fill="hold"/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3" dur="1000" fill="hold"/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4" fill="hold">
                                <p:stCondLst>
                                  <p:cond delay="6500"/>
                                </p:stCondLst>
                                <p:childTnLst>
                                  <p:par>
                                    <p:cTn id="45" presetID="16" presetClass="entr" presetSubtype="37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barn(outVertical)">
                                          <p:cBhvr>
                                            <p:cTn id="47" dur="500"/>
                                            <p:tgtEl>
                                              <p:spTgt spid="1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8" fill="hold">
                                <p:stCondLst>
                                  <p:cond delay="7000"/>
                                </p:stCondLst>
                                <p:childTnLst>
                                  <p:par>
                                    <p:cTn id="49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1" dur="500"/>
                                            <p:tgtEl>
                                              <p:spTgt spid="1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2" fill="hold">
                                <p:stCondLst>
                                  <p:cond delay="7500"/>
                                </p:stCondLst>
                                <p:childTnLst>
                                  <p:par>
                                    <p:cTn id="53" presetID="2" presetClass="entr" presetSubtype="1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5" dur="1000" fill="hold"/>
                                            <p:tgtEl>
                                              <p:spTgt spid="6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56" dur="1000" fill="hold"/>
                                            <p:tgtEl>
                                              <p:spTgt spid="6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7" fill="hold">
                                <p:stCondLst>
                                  <p:cond delay="8500"/>
                                </p:stCondLst>
                                <p:childTnLst>
                                  <p:par>
                                    <p:cTn id="58" presetID="16" presetClass="entr" presetSubtype="37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barn(outVertical)">
                                          <p:cBhvr>
                                            <p:cTn id="60" dur="500"/>
                                            <p:tgtEl>
                                              <p:spTgt spid="1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1" fill="hold">
                                <p:stCondLst>
                                  <p:cond delay="9000"/>
                                </p:stCondLst>
                                <p:childTnLst>
                                  <p:par>
                                    <p:cTn id="62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4" dur="500"/>
                                            <p:tgtEl>
                                              <p:spTgt spid="1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5" fill="hold">
                                <p:stCondLst>
                                  <p:cond delay="9500"/>
                                </p:stCondLst>
                                <p:childTnLst>
                                  <p:par>
                                    <p:cTn id="66" presetID="2" presetClass="entr" presetSubtype="1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68" dur="1000" fill="hold"/>
                                            <p:tgtEl>
                                              <p:spTgt spid="7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69" dur="1000" fill="hold"/>
                                            <p:tgtEl>
                                              <p:spTgt spid="7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70" fill="hold">
                                <p:stCondLst>
                                  <p:cond delay="10500"/>
                                </p:stCondLst>
                                <p:childTnLst>
                                  <p:par>
                                    <p:cTn id="71" presetID="16" presetClass="entr" presetSubtype="37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barn(outVertical)">
                                          <p:cBhvr>
                                            <p:cTn id="73" dur="500"/>
                                            <p:tgtEl>
                                              <p:spTgt spid="9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74" fill="hold">
                                <p:stCondLst>
                                  <p:cond delay="11000"/>
                                </p:stCondLst>
                                <p:childTnLst>
                                  <p:par>
                                    <p:cTn id="75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7" dur="500"/>
                                            <p:tgtEl>
                                              <p:spTgt spid="9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/>
          <p:bldP spid="8" grpId="0"/>
          <p:bldP spid="10" grpId="0"/>
          <p:bldP spid="11" grpId="0"/>
          <p:bldP spid="12" grpId="0"/>
          <p:bldP spid="13" grpId="0"/>
          <p:bldP spid="14" grpId="0"/>
          <p:bldP spid="15" grpId="0"/>
          <p:bldP spid="16" grpId="0"/>
          <p:bldP spid="91" grpId="0"/>
          <p:bldP spid="92" grpId="0"/>
        </p:bldLst>
      </p:timing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7B7FF85-0869-3348-90FD-BF53A24A27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Genetic</a:t>
            </a:r>
            <a:r>
              <a:rPr kumimoji="1" lang="zh-CN" altLang="en-US" dirty="0"/>
              <a:t> </a:t>
            </a:r>
            <a:r>
              <a:rPr kumimoji="1" lang="en-US" altLang="zh-CN" dirty="0"/>
              <a:t>Algorithm</a:t>
            </a:r>
            <a:endParaRPr kumimoji="1" lang="zh-CN" altLang="en-US" dirty="0"/>
          </a:p>
        </p:txBody>
      </p:sp>
      <p:grpSp>
        <p:nvGrpSpPr>
          <p:cNvPr id="12" name="组合 11">
            <a:extLst>
              <a:ext uri="{FF2B5EF4-FFF2-40B4-BE49-F238E27FC236}">
                <a16:creationId xmlns:a16="http://schemas.microsoft.com/office/drawing/2014/main" id="{F6856919-0F5F-9C4C-904E-ADBB67181669}"/>
              </a:ext>
            </a:extLst>
          </p:cNvPr>
          <p:cNvGrpSpPr/>
          <p:nvPr/>
        </p:nvGrpSpPr>
        <p:grpSpPr>
          <a:xfrm>
            <a:off x="4371616" y="1020923"/>
            <a:ext cx="7622270" cy="5779395"/>
            <a:chOff x="119924" y="973830"/>
            <a:chExt cx="7622270" cy="5779395"/>
          </a:xfrm>
        </p:grpSpPr>
        <p:pic>
          <p:nvPicPr>
            <p:cNvPr id="5" name="图片 4">
              <a:extLst>
                <a:ext uri="{FF2B5EF4-FFF2-40B4-BE49-F238E27FC236}">
                  <a16:creationId xmlns:a16="http://schemas.microsoft.com/office/drawing/2014/main" id="{21FAA6BD-474D-EA42-A433-0D0752FB232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81520" y="973830"/>
              <a:ext cx="7460674" cy="5779395"/>
            </a:xfrm>
            <a:prstGeom prst="rect">
              <a:avLst/>
            </a:prstGeom>
          </p:spPr>
        </p:pic>
        <p:sp>
          <p:nvSpPr>
            <p:cNvPr id="7" name="Rectangle 35">
              <a:extLst>
                <a:ext uri="{FF2B5EF4-FFF2-40B4-BE49-F238E27FC236}">
                  <a16:creationId xmlns:a16="http://schemas.microsoft.com/office/drawing/2014/main" id="{EE5AFD36-8B4B-CD4C-95E2-DFF8D54CBFA6}"/>
                </a:ext>
              </a:extLst>
            </p:cNvPr>
            <p:cNvSpPr/>
            <p:nvPr/>
          </p:nvSpPr>
          <p:spPr>
            <a:xfrm>
              <a:off x="119924" y="973830"/>
              <a:ext cx="7622270" cy="5779395"/>
            </a:xfrm>
            <a:prstGeom prst="rect">
              <a:avLst/>
            </a:prstGeom>
            <a:noFill/>
            <a:ln w="12700">
              <a:solidFill>
                <a:schemeClr val="accent1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dirty="0">
                <a:latin typeface="+mn-ea"/>
              </a:endParaRPr>
            </a:p>
          </p:txBody>
        </p:sp>
        <p:sp>
          <p:nvSpPr>
            <p:cNvPr id="10" name="矩形 9">
              <a:extLst>
                <a:ext uri="{FF2B5EF4-FFF2-40B4-BE49-F238E27FC236}">
                  <a16:creationId xmlns:a16="http://schemas.microsoft.com/office/drawing/2014/main" id="{189759EE-F6DE-8A4B-B325-D4B1F7DF56AC}"/>
                </a:ext>
              </a:extLst>
            </p:cNvPr>
            <p:cNvSpPr/>
            <p:nvPr/>
          </p:nvSpPr>
          <p:spPr>
            <a:xfrm>
              <a:off x="1205345" y="2327564"/>
              <a:ext cx="1731819" cy="277090"/>
            </a:xfrm>
            <a:prstGeom prst="rect">
              <a:avLst/>
            </a:prstGeom>
            <a:noFill/>
            <a:ln w="31750">
              <a:solidFill>
                <a:srgbClr val="FF0000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DE6C139E-43E2-B749-B4AD-3E3963149E26}"/>
                </a:ext>
              </a:extLst>
            </p:cNvPr>
            <p:cNvSpPr/>
            <p:nvPr/>
          </p:nvSpPr>
          <p:spPr>
            <a:xfrm>
              <a:off x="429491" y="5569527"/>
              <a:ext cx="1731819" cy="277090"/>
            </a:xfrm>
            <a:prstGeom prst="rect">
              <a:avLst/>
            </a:prstGeom>
            <a:noFill/>
            <a:ln w="31750">
              <a:solidFill>
                <a:srgbClr val="FF0000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131" name="组合 130">
            <a:extLst>
              <a:ext uri="{FF2B5EF4-FFF2-40B4-BE49-F238E27FC236}">
                <a16:creationId xmlns:a16="http://schemas.microsoft.com/office/drawing/2014/main" id="{BC314320-0A78-8242-A204-CE62C8BA923E}"/>
              </a:ext>
            </a:extLst>
          </p:cNvPr>
          <p:cNvGrpSpPr/>
          <p:nvPr/>
        </p:nvGrpSpPr>
        <p:grpSpPr>
          <a:xfrm>
            <a:off x="197408" y="1185318"/>
            <a:ext cx="4399131" cy="707886"/>
            <a:chOff x="197408" y="1185318"/>
            <a:chExt cx="4399131" cy="707886"/>
          </a:xfrm>
        </p:grpSpPr>
        <p:sp>
          <p:nvSpPr>
            <p:cNvPr id="6" name="文本框 5">
              <a:extLst>
                <a:ext uri="{FF2B5EF4-FFF2-40B4-BE49-F238E27FC236}">
                  <a16:creationId xmlns:a16="http://schemas.microsoft.com/office/drawing/2014/main" id="{BE113B79-8918-A342-9063-77263EF53297}"/>
                </a:ext>
              </a:extLst>
            </p:cNvPr>
            <p:cNvSpPr txBox="1"/>
            <p:nvPr/>
          </p:nvSpPr>
          <p:spPr>
            <a:xfrm>
              <a:off x="589849" y="1185318"/>
              <a:ext cx="4006690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Wingdings" pitchFamily="2" charset="2"/>
                <a:buChar char="Ø"/>
              </a:pPr>
              <a:r>
                <a:rPr kumimoji="1" lang="en-US" altLang="zh-CN" sz="2000" dirty="0">
                  <a:solidFill>
                    <a:schemeClr val="tx2"/>
                  </a:solidFill>
                </a:rPr>
                <a:t>Compute</a:t>
              </a:r>
              <a:r>
                <a:rPr kumimoji="1" lang="zh-CN" altLang="en-US" sz="2000" dirty="0">
                  <a:solidFill>
                    <a:schemeClr val="tx2"/>
                  </a:solidFill>
                </a:rPr>
                <a:t> </a:t>
              </a:r>
              <a:r>
                <a:rPr kumimoji="1" lang="en-US" altLang="zh-CN" sz="2000" dirty="0">
                  <a:solidFill>
                    <a:schemeClr val="tx2"/>
                  </a:solidFill>
                </a:rPr>
                <a:t>the</a:t>
              </a:r>
              <a:r>
                <a:rPr kumimoji="1" lang="zh-CN" altLang="en-US" sz="2000" dirty="0">
                  <a:solidFill>
                    <a:schemeClr val="tx2"/>
                  </a:solidFill>
                </a:rPr>
                <a:t> </a:t>
              </a:r>
              <a:r>
                <a:rPr kumimoji="1" lang="en-US" altLang="zh-CN" sz="2000" dirty="0">
                  <a:solidFill>
                    <a:schemeClr val="tx2"/>
                  </a:solidFill>
                </a:rPr>
                <a:t>total</a:t>
              </a:r>
              <a:r>
                <a:rPr kumimoji="1" lang="zh-CN" altLang="en-US" sz="2000" dirty="0">
                  <a:solidFill>
                    <a:schemeClr val="tx2"/>
                  </a:solidFill>
                </a:rPr>
                <a:t> </a:t>
              </a:r>
              <a:r>
                <a:rPr kumimoji="1" lang="en-US" altLang="zh-CN" sz="2000" dirty="0">
                  <a:solidFill>
                    <a:schemeClr val="tx2"/>
                  </a:solidFill>
                </a:rPr>
                <a:t>tardiness</a:t>
              </a:r>
              <a:r>
                <a:rPr kumimoji="1" lang="zh-CN" altLang="en-US" sz="2000" dirty="0">
                  <a:solidFill>
                    <a:schemeClr val="tx2"/>
                  </a:solidFill>
                </a:rPr>
                <a:t> </a:t>
              </a:r>
              <a:r>
                <a:rPr kumimoji="1" lang="en-US" altLang="zh-CN" sz="2000" dirty="0">
                  <a:solidFill>
                    <a:schemeClr val="tx2"/>
                  </a:solidFill>
                </a:rPr>
                <a:t>of</a:t>
              </a:r>
              <a:r>
                <a:rPr kumimoji="1" lang="zh-CN" altLang="en-US" sz="2000" dirty="0">
                  <a:solidFill>
                    <a:schemeClr val="tx2"/>
                  </a:solidFill>
                </a:rPr>
                <a:t> </a:t>
              </a:r>
              <a:r>
                <a:rPr kumimoji="1" lang="en-US" altLang="zh-CN" sz="2000" dirty="0">
                  <a:solidFill>
                    <a:schemeClr val="tx2"/>
                  </a:solidFill>
                </a:rPr>
                <a:t>given</a:t>
              </a:r>
              <a:r>
                <a:rPr kumimoji="1" lang="zh-CN" altLang="en-US" sz="2000" dirty="0">
                  <a:solidFill>
                    <a:schemeClr val="tx2"/>
                  </a:solidFill>
                </a:rPr>
                <a:t> </a:t>
              </a:r>
              <a:r>
                <a:rPr kumimoji="1" lang="en-US" altLang="zh-CN" sz="2000" dirty="0">
                  <a:solidFill>
                    <a:schemeClr val="tx2"/>
                  </a:solidFill>
                </a:rPr>
                <a:t>permutation </a:t>
              </a:r>
              <a:r>
                <a:rPr kumimoji="1" lang="zh-CN" altLang="en-US" sz="2000" dirty="0">
                  <a:solidFill>
                    <a:schemeClr val="tx2"/>
                  </a:solidFill>
                </a:rPr>
                <a:t> </a:t>
              </a:r>
              <a:endParaRPr kumimoji="1" lang="en-US" altLang="zh-CN" sz="2000" dirty="0">
                <a:solidFill>
                  <a:schemeClr val="tx2"/>
                </a:solidFill>
              </a:endParaRPr>
            </a:p>
          </p:txBody>
        </p:sp>
        <p:grpSp>
          <p:nvGrpSpPr>
            <p:cNvPr id="13" name="Group 44">
              <a:extLst>
                <a:ext uri="{FF2B5EF4-FFF2-40B4-BE49-F238E27FC236}">
                  <a16:creationId xmlns:a16="http://schemas.microsoft.com/office/drawing/2014/main" id="{E751AB37-73D0-354D-9F9E-F7DEE5C9C31D}"/>
                </a:ext>
              </a:extLst>
            </p:cNvPr>
            <p:cNvGrpSpPr/>
            <p:nvPr/>
          </p:nvGrpSpPr>
          <p:grpSpPr>
            <a:xfrm>
              <a:off x="197408" y="1220955"/>
              <a:ext cx="392441" cy="407827"/>
              <a:chOff x="4033838" y="2940051"/>
              <a:chExt cx="962025" cy="952500"/>
            </a:xfrm>
            <a:solidFill>
              <a:schemeClr val="tx2"/>
            </a:solidFill>
          </p:grpSpPr>
          <p:sp>
            <p:nvSpPr>
              <p:cNvPr id="14" name="Freeform 38">
                <a:extLst>
                  <a:ext uri="{FF2B5EF4-FFF2-40B4-BE49-F238E27FC236}">
                    <a16:creationId xmlns:a16="http://schemas.microsoft.com/office/drawing/2014/main" id="{2415F753-5B8D-BF41-817F-8F4317AB64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6563" y="2940051"/>
                <a:ext cx="749300" cy="952500"/>
              </a:xfrm>
              <a:custGeom>
                <a:avLst/>
                <a:gdLst>
                  <a:gd name="T0" fmla="*/ 1036 w 1082"/>
                  <a:gd name="T1" fmla="*/ 0 h 1376"/>
                  <a:gd name="T2" fmla="*/ 45 w 1082"/>
                  <a:gd name="T3" fmla="*/ 0 h 1376"/>
                  <a:gd name="T4" fmla="*/ 0 w 1082"/>
                  <a:gd name="T5" fmla="*/ 45 h 1376"/>
                  <a:gd name="T6" fmla="*/ 0 w 1082"/>
                  <a:gd name="T7" fmla="*/ 541 h 1376"/>
                  <a:gd name="T8" fmla="*/ 89 w 1082"/>
                  <a:gd name="T9" fmla="*/ 590 h 1376"/>
                  <a:gd name="T10" fmla="*/ 91 w 1082"/>
                  <a:gd name="T11" fmla="*/ 594 h 1376"/>
                  <a:gd name="T12" fmla="*/ 91 w 1082"/>
                  <a:gd name="T13" fmla="*/ 91 h 1376"/>
                  <a:gd name="T14" fmla="*/ 991 w 1082"/>
                  <a:gd name="T15" fmla="*/ 91 h 1376"/>
                  <a:gd name="T16" fmla="*/ 991 w 1082"/>
                  <a:gd name="T17" fmla="*/ 847 h 1376"/>
                  <a:gd name="T18" fmla="*/ 936 w 1082"/>
                  <a:gd name="T19" fmla="*/ 933 h 1376"/>
                  <a:gd name="T20" fmla="*/ 721 w 1082"/>
                  <a:gd name="T21" fmla="*/ 958 h 1376"/>
                  <a:gd name="T22" fmla="*/ 685 w 1082"/>
                  <a:gd name="T23" fmla="*/ 970 h 1376"/>
                  <a:gd name="T24" fmla="*/ 670 w 1082"/>
                  <a:gd name="T25" fmla="*/ 1006 h 1376"/>
                  <a:gd name="T26" fmla="*/ 634 w 1082"/>
                  <a:gd name="T27" fmla="*/ 1261 h 1376"/>
                  <a:gd name="T28" fmla="*/ 581 w 1082"/>
                  <a:gd name="T29" fmla="*/ 1285 h 1376"/>
                  <a:gd name="T30" fmla="*/ 91 w 1082"/>
                  <a:gd name="T31" fmla="*/ 1285 h 1376"/>
                  <a:gd name="T32" fmla="*/ 91 w 1082"/>
                  <a:gd name="T33" fmla="*/ 1075 h 1376"/>
                  <a:gd name="T34" fmla="*/ 0 w 1082"/>
                  <a:gd name="T35" fmla="*/ 1133 h 1376"/>
                  <a:gd name="T36" fmla="*/ 0 w 1082"/>
                  <a:gd name="T37" fmla="*/ 1331 h 1376"/>
                  <a:gd name="T38" fmla="*/ 45 w 1082"/>
                  <a:gd name="T39" fmla="*/ 1376 h 1376"/>
                  <a:gd name="T40" fmla="*/ 608 w 1082"/>
                  <a:gd name="T41" fmla="*/ 1376 h 1376"/>
                  <a:gd name="T42" fmla="*/ 699 w 1082"/>
                  <a:gd name="T43" fmla="*/ 1349 h 1376"/>
                  <a:gd name="T44" fmla="*/ 1021 w 1082"/>
                  <a:gd name="T45" fmla="*/ 1022 h 1376"/>
                  <a:gd name="T46" fmla="*/ 1082 w 1082"/>
                  <a:gd name="T47" fmla="*/ 823 h 1376"/>
                  <a:gd name="T48" fmla="*/ 1082 w 1082"/>
                  <a:gd name="T49" fmla="*/ 823 h 1376"/>
                  <a:gd name="T50" fmla="*/ 1082 w 1082"/>
                  <a:gd name="T51" fmla="*/ 45 h 1376"/>
                  <a:gd name="T52" fmla="*/ 1036 w 1082"/>
                  <a:gd name="T53" fmla="*/ 0 h 1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082" h="1376">
                    <a:moveTo>
                      <a:pt x="1036" y="0"/>
                    </a:moveTo>
                    <a:cubicBezTo>
                      <a:pt x="45" y="0"/>
                      <a:pt x="45" y="0"/>
                      <a:pt x="45" y="0"/>
                    </a:cubicBezTo>
                    <a:cubicBezTo>
                      <a:pt x="20" y="0"/>
                      <a:pt x="0" y="20"/>
                      <a:pt x="0" y="45"/>
                    </a:cubicBezTo>
                    <a:cubicBezTo>
                      <a:pt x="0" y="541"/>
                      <a:pt x="0" y="541"/>
                      <a:pt x="0" y="541"/>
                    </a:cubicBezTo>
                    <a:cubicBezTo>
                      <a:pt x="35" y="541"/>
                      <a:pt x="69" y="559"/>
                      <a:pt x="89" y="590"/>
                    </a:cubicBezTo>
                    <a:cubicBezTo>
                      <a:pt x="89" y="592"/>
                      <a:pt x="90" y="593"/>
                      <a:pt x="91" y="594"/>
                    </a:cubicBezTo>
                    <a:cubicBezTo>
                      <a:pt x="91" y="91"/>
                      <a:pt x="91" y="91"/>
                      <a:pt x="91" y="91"/>
                    </a:cubicBezTo>
                    <a:cubicBezTo>
                      <a:pt x="991" y="91"/>
                      <a:pt x="991" y="91"/>
                      <a:pt x="991" y="91"/>
                    </a:cubicBezTo>
                    <a:cubicBezTo>
                      <a:pt x="991" y="847"/>
                      <a:pt x="991" y="847"/>
                      <a:pt x="991" y="847"/>
                    </a:cubicBezTo>
                    <a:cubicBezTo>
                      <a:pt x="989" y="887"/>
                      <a:pt x="976" y="917"/>
                      <a:pt x="936" y="933"/>
                    </a:cubicBezTo>
                    <a:cubicBezTo>
                      <a:pt x="883" y="954"/>
                      <a:pt x="830" y="958"/>
                      <a:pt x="721" y="958"/>
                    </a:cubicBezTo>
                    <a:cubicBezTo>
                      <a:pt x="708" y="958"/>
                      <a:pt x="694" y="961"/>
                      <a:pt x="685" y="970"/>
                    </a:cubicBezTo>
                    <a:cubicBezTo>
                      <a:pt x="675" y="979"/>
                      <a:pt x="670" y="992"/>
                      <a:pt x="670" y="1006"/>
                    </a:cubicBezTo>
                    <a:cubicBezTo>
                      <a:pt x="675" y="1093"/>
                      <a:pt x="675" y="1222"/>
                      <a:pt x="634" y="1261"/>
                    </a:cubicBezTo>
                    <a:cubicBezTo>
                      <a:pt x="614" y="1280"/>
                      <a:pt x="602" y="1285"/>
                      <a:pt x="581" y="1285"/>
                    </a:cubicBezTo>
                    <a:cubicBezTo>
                      <a:pt x="556" y="1285"/>
                      <a:pt x="91" y="1285"/>
                      <a:pt x="91" y="1285"/>
                    </a:cubicBezTo>
                    <a:cubicBezTo>
                      <a:pt x="91" y="1075"/>
                      <a:pt x="91" y="1075"/>
                      <a:pt x="91" y="1075"/>
                    </a:cubicBezTo>
                    <a:cubicBezTo>
                      <a:pt x="0" y="1133"/>
                      <a:pt x="0" y="1133"/>
                      <a:pt x="0" y="1133"/>
                    </a:cubicBezTo>
                    <a:cubicBezTo>
                      <a:pt x="0" y="1331"/>
                      <a:pt x="0" y="1331"/>
                      <a:pt x="0" y="1331"/>
                    </a:cubicBezTo>
                    <a:cubicBezTo>
                      <a:pt x="0" y="1356"/>
                      <a:pt x="20" y="1376"/>
                      <a:pt x="45" y="1376"/>
                    </a:cubicBezTo>
                    <a:cubicBezTo>
                      <a:pt x="45" y="1376"/>
                      <a:pt x="598" y="1376"/>
                      <a:pt x="608" y="1376"/>
                    </a:cubicBezTo>
                    <a:cubicBezTo>
                      <a:pt x="640" y="1376"/>
                      <a:pt x="670" y="1365"/>
                      <a:pt x="699" y="1349"/>
                    </a:cubicBezTo>
                    <a:cubicBezTo>
                      <a:pt x="740" y="1325"/>
                      <a:pt x="992" y="1056"/>
                      <a:pt x="1021" y="1022"/>
                    </a:cubicBezTo>
                    <a:cubicBezTo>
                      <a:pt x="1051" y="988"/>
                      <a:pt x="1081" y="940"/>
                      <a:pt x="1082" y="823"/>
                    </a:cubicBezTo>
                    <a:cubicBezTo>
                      <a:pt x="1082" y="823"/>
                      <a:pt x="1082" y="823"/>
                      <a:pt x="1082" y="823"/>
                    </a:cubicBezTo>
                    <a:cubicBezTo>
                      <a:pt x="1082" y="45"/>
                      <a:pt x="1082" y="45"/>
                      <a:pt x="1082" y="45"/>
                    </a:cubicBezTo>
                    <a:cubicBezTo>
                      <a:pt x="1082" y="20"/>
                      <a:pt x="1061" y="0"/>
                      <a:pt x="103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15" name="Freeform 39">
                <a:extLst>
                  <a:ext uri="{FF2B5EF4-FFF2-40B4-BE49-F238E27FC236}">
                    <a16:creationId xmlns:a16="http://schemas.microsoft.com/office/drawing/2014/main" id="{D40DE4BF-26D2-1848-8F0F-E309D165DF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33838" y="3360738"/>
                <a:ext cx="241300" cy="168275"/>
              </a:xfrm>
              <a:custGeom>
                <a:avLst/>
                <a:gdLst>
                  <a:gd name="T0" fmla="*/ 65 w 350"/>
                  <a:gd name="T1" fmla="*/ 238 h 244"/>
                  <a:gd name="T2" fmla="*/ 308 w 350"/>
                  <a:gd name="T3" fmla="*/ 84 h 244"/>
                  <a:gd name="T4" fmla="*/ 328 w 350"/>
                  <a:gd name="T5" fmla="*/ 71 h 244"/>
                  <a:gd name="T6" fmla="*/ 344 w 350"/>
                  <a:gd name="T7" fmla="*/ 25 h 244"/>
                  <a:gd name="T8" fmla="*/ 340 w 350"/>
                  <a:gd name="T9" fmla="*/ 18 h 244"/>
                  <a:gd name="T10" fmla="*/ 308 w 350"/>
                  <a:gd name="T11" fmla="*/ 0 h 244"/>
                  <a:gd name="T12" fmla="*/ 287 w 350"/>
                  <a:gd name="T13" fmla="*/ 6 h 244"/>
                  <a:gd name="T14" fmla="*/ 23 w 350"/>
                  <a:gd name="T15" fmla="*/ 172 h 244"/>
                  <a:gd name="T16" fmla="*/ 11 w 350"/>
                  <a:gd name="T17" fmla="*/ 226 h 244"/>
                  <a:gd name="T18" fmla="*/ 16 w 350"/>
                  <a:gd name="T19" fmla="*/ 232 h 244"/>
                  <a:gd name="T20" fmla="*/ 44 w 350"/>
                  <a:gd name="T21" fmla="*/ 244 h 244"/>
                  <a:gd name="T22" fmla="*/ 65 w 350"/>
                  <a:gd name="T23" fmla="*/ 238 h 2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0" h="244">
                    <a:moveTo>
                      <a:pt x="65" y="238"/>
                    </a:moveTo>
                    <a:cubicBezTo>
                      <a:pt x="308" y="84"/>
                      <a:pt x="308" y="84"/>
                      <a:pt x="308" y="84"/>
                    </a:cubicBezTo>
                    <a:cubicBezTo>
                      <a:pt x="328" y="71"/>
                      <a:pt x="328" y="71"/>
                      <a:pt x="328" y="71"/>
                    </a:cubicBezTo>
                    <a:cubicBezTo>
                      <a:pt x="344" y="61"/>
                      <a:pt x="350" y="42"/>
                      <a:pt x="344" y="25"/>
                    </a:cubicBezTo>
                    <a:cubicBezTo>
                      <a:pt x="343" y="23"/>
                      <a:pt x="341" y="20"/>
                      <a:pt x="340" y="18"/>
                    </a:cubicBezTo>
                    <a:cubicBezTo>
                      <a:pt x="333" y="7"/>
                      <a:pt x="321" y="0"/>
                      <a:pt x="308" y="0"/>
                    </a:cubicBezTo>
                    <a:cubicBezTo>
                      <a:pt x="301" y="0"/>
                      <a:pt x="293" y="2"/>
                      <a:pt x="287" y="6"/>
                    </a:cubicBezTo>
                    <a:cubicBezTo>
                      <a:pt x="23" y="172"/>
                      <a:pt x="23" y="172"/>
                      <a:pt x="23" y="172"/>
                    </a:cubicBezTo>
                    <a:cubicBezTo>
                      <a:pt x="5" y="184"/>
                      <a:pt x="0" y="208"/>
                      <a:pt x="11" y="226"/>
                    </a:cubicBezTo>
                    <a:cubicBezTo>
                      <a:pt x="13" y="228"/>
                      <a:pt x="14" y="230"/>
                      <a:pt x="16" y="232"/>
                    </a:cubicBezTo>
                    <a:cubicBezTo>
                      <a:pt x="24" y="239"/>
                      <a:pt x="34" y="244"/>
                      <a:pt x="44" y="244"/>
                    </a:cubicBezTo>
                    <a:cubicBezTo>
                      <a:pt x="51" y="244"/>
                      <a:pt x="58" y="242"/>
                      <a:pt x="65" y="23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16" name="Freeform 40">
                <a:extLst>
                  <a:ext uri="{FF2B5EF4-FFF2-40B4-BE49-F238E27FC236}">
                    <a16:creationId xmlns:a16="http://schemas.microsoft.com/office/drawing/2014/main" id="{C21694FB-D5B1-AA42-A4D2-0C84A0420F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43363" y="3402013"/>
                <a:ext cx="381000" cy="325438"/>
              </a:xfrm>
              <a:custGeom>
                <a:avLst/>
                <a:gdLst>
                  <a:gd name="T0" fmla="*/ 384 w 550"/>
                  <a:gd name="T1" fmla="*/ 315 h 468"/>
                  <a:gd name="T2" fmla="*/ 542 w 550"/>
                  <a:gd name="T3" fmla="*/ 216 h 468"/>
                  <a:gd name="T4" fmla="*/ 550 w 550"/>
                  <a:gd name="T5" fmla="*/ 210 h 468"/>
                  <a:gd name="T6" fmla="*/ 417 w 550"/>
                  <a:gd name="T7" fmla="*/ 0 h 468"/>
                  <a:gd name="T8" fmla="*/ 408 w 550"/>
                  <a:gd name="T9" fmla="*/ 5 h 468"/>
                  <a:gd name="T10" fmla="*/ 391 w 550"/>
                  <a:gd name="T11" fmla="*/ 16 h 468"/>
                  <a:gd name="T12" fmla="*/ 384 w 550"/>
                  <a:gd name="T13" fmla="*/ 21 h 468"/>
                  <a:gd name="T14" fmla="*/ 293 w 550"/>
                  <a:gd name="T15" fmla="*/ 78 h 468"/>
                  <a:gd name="T16" fmla="*/ 68 w 550"/>
                  <a:gd name="T17" fmla="*/ 220 h 468"/>
                  <a:gd name="T18" fmla="*/ 68 w 550"/>
                  <a:gd name="T19" fmla="*/ 220 h 468"/>
                  <a:gd name="T20" fmla="*/ 68 w 550"/>
                  <a:gd name="T21" fmla="*/ 220 h 468"/>
                  <a:gd name="T22" fmla="*/ 35 w 550"/>
                  <a:gd name="T23" fmla="*/ 249 h 468"/>
                  <a:gd name="T24" fmla="*/ 29 w 550"/>
                  <a:gd name="T25" fmla="*/ 392 h 468"/>
                  <a:gd name="T26" fmla="*/ 201 w 550"/>
                  <a:gd name="T27" fmla="*/ 431 h 468"/>
                  <a:gd name="T28" fmla="*/ 210 w 550"/>
                  <a:gd name="T29" fmla="*/ 425 h 468"/>
                  <a:gd name="T30" fmla="*/ 293 w 550"/>
                  <a:gd name="T31" fmla="*/ 372 h 468"/>
                  <a:gd name="T32" fmla="*/ 384 w 550"/>
                  <a:gd name="T33" fmla="*/ 315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50" h="468">
                    <a:moveTo>
                      <a:pt x="384" y="315"/>
                    </a:moveTo>
                    <a:cubicBezTo>
                      <a:pt x="542" y="216"/>
                      <a:pt x="542" y="216"/>
                      <a:pt x="542" y="216"/>
                    </a:cubicBezTo>
                    <a:cubicBezTo>
                      <a:pt x="550" y="210"/>
                      <a:pt x="550" y="210"/>
                      <a:pt x="550" y="210"/>
                    </a:cubicBezTo>
                    <a:cubicBezTo>
                      <a:pt x="417" y="0"/>
                      <a:pt x="417" y="0"/>
                      <a:pt x="417" y="0"/>
                    </a:cubicBezTo>
                    <a:cubicBezTo>
                      <a:pt x="408" y="5"/>
                      <a:pt x="408" y="5"/>
                      <a:pt x="408" y="5"/>
                    </a:cubicBezTo>
                    <a:cubicBezTo>
                      <a:pt x="391" y="16"/>
                      <a:pt x="391" y="16"/>
                      <a:pt x="391" y="16"/>
                    </a:cubicBezTo>
                    <a:cubicBezTo>
                      <a:pt x="384" y="21"/>
                      <a:pt x="384" y="21"/>
                      <a:pt x="384" y="21"/>
                    </a:cubicBezTo>
                    <a:cubicBezTo>
                      <a:pt x="293" y="78"/>
                      <a:pt x="293" y="78"/>
                      <a:pt x="293" y="78"/>
                    </a:cubicBezTo>
                    <a:cubicBezTo>
                      <a:pt x="68" y="220"/>
                      <a:pt x="68" y="220"/>
                      <a:pt x="68" y="220"/>
                    </a:cubicBezTo>
                    <a:cubicBezTo>
                      <a:pt x="68" y="220"/>
                      <a:pt x="68" y="220"/>
                      <a:pt x="68" y="220"/>
                    </a:cubicBezTo>
                    <a:cubicBezTo>
                      <a:pt x="68" y="220"/>
                      <a:pt x="68" y="220"/>
                      <a:pt x="68" y="220"/>
                    </a:cubicBezTo>
                    <a:cubicBezTo>
                      <a:pt x="55" y="228"/>
                      <a:pt x="44" y="238"/>
                      <a:pt x="35" y="249"/>
                    </a:cubicBezTo>
                    <a:cubicBezTo>
                      <a:pt x="4" y="290"/>
                      <a:pt x="0" y="347"/>
                      <a:pt x="29" y="392"/>
                    </a:cubicBezTo>
                    <a:cubicBezTo>
                      <a:pt x="66" y="450"/>
                      <a:pt x="143" y="468"/>
                      <a:pt x="201" y="431"/>
                    </a:cubicBezTo>
                    <a:cubicBezTo>
                      <a:pt x="204" y="429"/>
                      <a:pt x="207" y="427"/>
                      <a:pt x="210" y="425"/>
                    </a:cubicBezTo>
                    <a:cubicBezTo>
                      <a:pt x="293" y="372"/>
                      <a:pt x="293" y="372"/>
                      <a:pt x="293" y="372"/>
                    </a:cubicBezTo>
                    <a:lnTo>
                      <a:pt x="384" y="3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17" name="Freeform 41">
                <a:extLst>
                  <a:ext uri="{FF2B5EF4-FFF2-40B4-BE49-F238E27FC236}">
                    <a16:creationId xmlns:a16="http://schemas.microsoft.com/office/drawing/2014/main" id="{229CB807-9188-3A43-9555-D74E65015A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1975" y="3197226"/>
                <a:ext cx="427038" cy="327025"/>
              </a:xfrm>
              <a:custGeom>
                <a:avLst/>
                <a:gdLst>
                  <a:gd name="T0" fmla="*/ 618 w 618"/>
                  <a:gd name="T1" fmla="*/ 35 h 471"/>
                  <a:gd name="T2" fmla="*/ 614 w 618"/>
                  <a:gd name="T3" fmla="*/ 18 h 471"/>
                  <a:gd name="T4" fmla="*/ 572 w 618"/>
                  <a:gd name="T5" fmla="*/ 9 h 471"/>
                  <a:gd name="T6" fmla="*/ 518 w 618"/>
                  <a:gd name="T7" fmla="*/ 43 h 471"/>
                  <a:gd name="T8" fmla="*/ 450 w 618"/>
                  <a:gd name="T9" fmla="*/ 25 h 471"/>
                  <a:gd name="T10" fmla="*/ 294 w 618"/>
                  <a:gd name="T11" fmla="*/ 74 h 471"/>
                  <a:gd name="T12" fmla="*/ 8 w 618"/>
                  <a:gd name="T13" fmla="*/ 255 h 471"/>
                  <a:gd name="T14" fmla="*/ 0 w 618"/>
                  <a:gd name="T15" fmla="*/ 260 h 471"/>
                  <a:gd name="T16" fmla="*/ 133 w 618"/>
                  <a:gd name="T17" fmla="*/ 471 h 471"/>
                  <a:gd name="T18" fmla="*/ 141 w 618"/>
                  <a:gd name="T19" fmla="*/ 465 h 471"/>
                  <a:gd name="T20" fmla="*/ 428 w 618"/>
                  <a:gd name="T21" fmla="*/ 284 h 471"/>
                  <a:gd name="T22" fmla="*/ 552 w 618"/>
                  <a:gd name="T23" fmla="*/ 109 h 471"/>
                  <a:gd name="T24" fmla="*/ 552 w 618"/>
                  <a:gd name="T25" fmla="*/ 109 h 471"/>
                  <a:gd name="T26" fmla="*/ 551 w 618"/>
                  <a:gd name="T27" fmla="*/ 94 h 471"/>
                  <a:gd name="T28" fmla="*/ 604 w 618"/>
                  <a:gd name="T29" fmla="*/ 60 h 471"/>
                  <a:gd name="T30" fmla="*/ 618 w 618"/>
                  <a:gd name="T31" fmla="*/ 35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18" h="471">
                    <a:moveTo>
                      <a:pt x="618" y="35"/>
                    </a:moveTo>
                    <a:cubicBezTo>
                      <a:pt x="618" y="29"/>
                      <a:pt x="617" y="23"/>
                      <a:pt x="614" y="18"/>
                    </a:cubicBezTo>
                    <a:cubicBezTo>
                      <a:pt x="605" y="4"/>
                      <a:pt x="586" y="0"/>
                      <a:pt x="572" y="9"/>
                    </a:cubicBezTo>
                    <a:cubicBezTo>
                      <a:pt x="518" y="43"/>
                      <a:pt x="518" y="43"/>
                      <a:pt x="518" y="43"/>
                    </a:cubicBezTo>
                    <a:cubicBezTo>
                      <a:pt x="499" y="30"/>
                      <a:pt x="475" y="25"/>
                      <a:pt x="450" y="25"/>
                    </a:cubicBezTo>
                    <a:cubicBezTo>
                      <a:pt x="401" y="25"/>
                      <a:pt x="344" y="42"/>
                      <a:pt x="294" y="74"/>
                    </a:cubicBezTo>
                    <a:cubicBezTo>
                      <a:pt x="8" y="255"/>
                      <a:pt x="8" y="255"/>
                      <a:pt x="8" y="255"/>
                    </a:cubicBezTo>
                    <a:cubicBezTo>
                      <a:pt x="0" y="260"/>
                      <a:pt x="0" y="260"/>
                      <a:pt x="0" y="260"/>
                    </a:cubicBezTo>
                    <a:cubicBezTo>
                      <a:pt x="133" y="471"/>
                      <a:pt x="133" y="471"/>
                      <a:pt x="133" y="471"/>
                    </a:cubicBezTo>
                    <a:cubicBezTo>
                      <a:pt x="141" y="465"/>
                      <a:pt x="141" y="465"/>
                      <a:pt x="141" y="465"/>
                    </a:cubicBezTo>
                    <a:cubicBezTo>
                      <a:pt x="428" y="284"/>
                      <a:pt x="428" y="284"/>
                      <a:pt x="428" y="284"/>
                    </a:cubicBezTo>
                    <a:cubicBezTo>
                      <a:pt x="498" y="239"/>
                      <a:pt x="550" y="172"/>
                      <a:pt x="552" y="109"/>
                    </a:cubicBezTo>
                    <a:cubicBezTo>
                      <a:pt x="552" y="109"/>
                      <a:pt x="552" y="109"/>
                      <a:pt x="552" y="109"/>
                    </a:cubicBezTo>
                    <a:cubicBezTo>
                      <a:pt x="552" y="104"/>
                      <a:pt x="552" y="99"/>
                      <a:pt x="551" y="94"/>
                    </a:cubicBezTo>
                    <a:cubicBezTo>
                      <a:pt x="604" y="60"/>
                      <a:pt x="604" y="60"/>
                      <a:pt x="604" y="60"/>
                    </a:cubicBezTo>
                    <a:cubicBezTo>
                      <a:pt x="613" y="55"/>
                      <a:pt x="618" y="45"/>
                      <a:pt x="618" y="3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</p:grpSp>
      </p:grpSp>
      <p:grpSp>
        <p:nvGrpSpPr>
          <p:cNvPr id="18" name="Group 5">
            <a:extLst>
              <a:ext uri="{FF2B5EF4-FFF2-40B4-BE49-F238E27FC236}">
                <a16:creationId xmlns:a16="http://schemas.microsoft.com/office/drawing/2014/main" id="{A7A19CB6-C382-5047-A579-02CFF68E4806}"/>
              </a:ext>
            </a:extLst>
          </p:cNvPr>
          <p:cNvGrpSpPr/>
          <p:nvPr/>
        </p:nvGrpSpPr>
        <p:grpSpPr>
          <a:xfrm>
            <a:off x="3831057" y="2771730"/>
            <a:ext cx="344708" cy="769598"/>
            <a:chOff x="8374717" y="4509785"/>
            <a:chExt cx="344708" cy="769598"/>
          </a:xfrm>
        </p:grpSpPr>
        <p:sp>
          <p:nvSpPr>
            <p:cNvPr id="19" name="Freeform 28">
              <a:extLst>
                <a:ext uri="{FF2B5EF4-FFF2-40B4-BE49-F238E27FC236}">
                  <a16:creationId xmlns:a16="http://schemas.microsoft.com/office/drawing/2014/main" id="{716D8FD0-CA47-2440-8FC3-F0E428BC8C4F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7562" y="4509785"/>
              <a:ext cx="161863" cy="143129"/>
            </a:xfrm>
            <a:custGeom>
              <a:avLst/>
              <a:gdLst>
                <a:gd name="T0" fmla="*/ 0 w 219"/>
                <a:gd name="T1" fmla="*/ 133 h 194"/>
                <a:gd name="T2" fmla="*/ 128 w 219"/>
                <a:gd name="T3" fmla="*/ 33 h 194"/>
                <a:gd name="T4" fmla="*/ 160 w 219"/>
                <a:gd name="T5" fmla="*/ 194 h 194"/>
                <a:gd name="T6" fmla="*/ 0 w 219"/>
                <a:gd name="T7" fmla="*/ 133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9" h="194">
                  <a:moveTo>
                    <a:pt x="0" y="133"/>
                  </a:moveTo>
                  <a:cubicBezTo>
                    <a:pt x="0" y="133"/>
                    <a:pt x="36" y="0"/>
                    <a:pt x="128" y="33"/>
                  </a:cubicBezTo>
                  <a:cubicBezTo>
                    <a:pt x="219" y="67"/>
                    <a:pt x="160" y="194"/>
                    <a:pt x="160" y="194"/>
                  </a:cubicBezTo>
                  <a:lnTo>
                    <a:pt x="0" y="133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9">
              <a:extLst>
                <a:ext uri="{FF2B5EF4-FFF2-40B4-BE49-F238E27FC236}">
                  <a16:creationId xmlns:a16="http://schemas.microsoft.com/office/drawing/2014/main" id="{E6E9CCE5-35A0-3649-9D48-7F8C40A3C6A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4717" y="4734595"/>
              <a:ext cx="167109" cy="378430"/>
            </a:xfrm>
            <a:custGeom>
              <a:avLst/>
              <a:gdLst>
                <a:gd name="T0" fmla="*/ 179 w 223"/>
                <a:gd name="T1" fmla="*/ 0 h 505"/>
                <a:gd name="T2" fmla="*/ 0 w 223"/>
                <a:gd name="T3" fmla="*/ 488 h 505"/>
                <a:gd name="T4" fmla="*/ 44 w 223"/>
                <a:gd name="T5" fmla="*/ 505 h 505"/>
                <a:gd name="T6" fmla="*/ 223 w 223"/>
                <a:gd name="T7" fmla="*/ 16 h 505"/>
                <a:gd name="T8" fmla="*/ 179 w 223"/>
                <a:gd name="T9" fmla="*/ 0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3" h="505">
                  <a:moveTo>
                    <a:pt x="179" y="0"/>
                  </a:moveTo>
                  <a:lnTo>
                    <a:pt x="0" y="488"/>
                  </a:lnTo>
                  <a:lnTo>
                    <a:pt x="44" y="505"/>
                  </a:lnTo>
                  <a:lnTo>
                    <a:pt x="223" y="16"/>
                  </a:lnTo>
                  <a:lnTo>
                    <a:pt x="179" y="0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30">
              <a:extLst>
                <a:ext uri="{FF2B5EF4-FFF2-40B4-BE49-F238E27FC236}">
                  <a16:creationId xmlns:a16="http://schemas.microsoft.com/office/drawing/2014/main" id="{3B9566AA-304F-3A42-AD6A-74B4D0F157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63891" y="4767567"/>
              <a:ext cx="167858" cy="377680"/>
            </a:xfrm>
            <a:custGeom>
              <a:avLst/>
              <a:gdLst>
                <a:gd name="T0" fmla="*/ 179 w 224"/>
                <a:gd name="T1" fmla="*/ 0 h 504"/>
                <a:gd name="T2" fmla="*/ 0 w 224"/>
                <a:gd name="T3" fmla="*/ 488 h 504"/>
                <a:gd name="T4" fmla="*/ 44 w 224"/>
                <a:gd name="T5" fmla="*/ 504 h 504"/>
                <a:gd name="T6" fmla="*/ 224 w 224"/>
                <a:gd name="T7" fmla="*/ 16 h 504"/>
                <a:gd name="T8" fmla="*/ 179 w 224"/>
                <a:gd name="T9" fmla="*/ 0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4">
                  <a:moveTo>
                    <a:pt x="179" y="0"/>
                  </a:moveTo>
                  <a:lnTo>
                    <a:pt x="0" y="488"/>
                  </a:lnTo>
                  <a:lnTo>
                    <a:pt x="44" y="504"/>
                  </a:lnTo>
                  <a:lnTo>
                    <a:pt x="224" y="16"/>
                  </a:lnTo>
                  <a:lnTo>
                    <a:pt x="179" y="0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31">
              <a:extLst>
                <a:ext uri="{FF2B5EF4-FFF2-40B4-BE49-F238E27FC236}">
                  <a16:creationId xmlns:a16="http://schemas.microsoft.com/office/drawing/2014/main" id="{28F4891D-C410-2E45-B54A-9EBEF8303D6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07689" y="4746584"/>
              <a:ext cx="190339" cy="386673"/>
            </a:xfrm>
            <a:custGeom>
              <a:avLst/>
              <a:gdLst>
                <a:gd name="T0" fmla="*/ 179 w 254"/>
                <a:gd name="T1" fmla="*/ 0 h 516"/>
                <a:gd name="T2" fmla="*/ 0 w 254"/>
                <a:gd name="T3" fmla="*/ 489 h 516"/>
                <a:gd name="T4" fmla="*/ 75 w 254"/>
                <a:gd name="T5" fmla="*/ 516 h 516"/>
                <a:gd name="T6" fmla="*/ 254 w 254"/>
                <a:gd name="T7" fmla="*/ 28 h 516"/>
                <a:gd name="T8" fmla="*/ 179 w 254"/>
                <a:gd name="T9" fmla="*/ 0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4" h="516">
                  <a:moveTo>
                    <a:pt x="179" y="0"/>
                  </a:moveTo>
                  <a:lnTo>
                    <a:pt x="0" y="489"/>
                  </a:lnTo>
                  <a:lnTo>
                    <a:pt x="75" y="516"/>
                  </a:lnTo>
                  <a:lnTo>
                    <a:pt x="254" y="28"/>
                  </a:lnTo>
                  <a:lnTo>
                    <a:pt x="179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32">
              <a:extLst>
                <a:ext uri="{FF2B5EF4-FFF2-40B4-BE49-F238E27FC236}">
                  <a16:creationId xmlns:a16="http://schemas.microsoft.com/office/drawing/2014/main" id="{671D1997-8719-1345-BFB7-96BB4B07E59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7714" y="5240416"/>
              <a:ext cx="26228" cy="38967"/>
            </a:xfrm>
            <a:custGeom>
              <a:avLst/>
              <a:gdLst>
                <a:gd name="T0" fmla="*/ 2 w 35"/>
                <a:gd name="T1" fmla="*/ 52 h 52"/>
                <a:gd name="T2" fmla="*/ 35 w 35"/>
                <a:gd name="T3" fmla="*/ 13 h 52"/>
                <a:gd name="T4" fmla="*/ 0 w 35"/>
                <a:gd name="T5" fmla="*/ 0 h 52"/>
                <a:gd name="T6" fmla="*/ 2 w 35"/>
                <a:gd name="T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" h="52">
                  <a:moveTo>
                    <a:pt x="2" y="52"/>
                  </a:moveTo>
                  <a:lnTo>
                    <a:pt x="35" y="13"/>
                  </a:lnTo>
                  <a:lnTo>
                    <a:pt x="0" y="0"/>
                  </a:lnTo>
                  <a:lnTo>
                    <a:pt x="2" y="52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33">
              <a:extLst>
                <a:ext uri="{FF2B5EF4-FFF2-40B4-BE49-F238E27FC236}">
                  <a16:creationId xmlns:a16="http://schemas.microsoft.com/office/drawing/2014/main" id="{CBEEA8E8-EE9D-D642-9F41-EBDD926E67CB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4717" y="5100285"/>
              <a:ext cx="122147" cy="149873"/>
            </a:xfrm>
            <a:custGeom>
              <a:avLst/>
              <a:gdLst>
                <a:gd name="T0" fmla="*/ 0 w 163"/>
                <a:gd name="T1" fmla="*/ 0 h 200"/>
                <a:gd name="T2" fmla="*/ 4 w 163"/>
                <a:gd name="T3" fmla="*/ 187 h 200"/>
                <a:gd name="T4" fmla="*/ 39 w 163"/>
                <a:gd name="T5" fmla="*/ 200 h 200"/>
                <a:gd name="T6" fmla="*/ 163 w 163"/>
                <a:gd name="T7" fmla="*/ 60 h 200"/>
                <a:gd name="T8" fmla="*/ 0 w 163"/>
                <a:gd name="T9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3" h="200">
                  <a:moveTo>
                    <a:pt x="0" y="0"/>
                  </a:moveTo>
                  <a:lnTo>
                    <a:pt x="4" y="187"/>
                  </a:lnTo>
                  <a:lnTo>
                    <a:pt x="39" y="200"/>
                  </a:lnTo>
                  <a:lnTo>
                    <a:pt x="163" y="6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34">
              <a:extLst>
                <a:ext uri="{FF2B5EF4-FFF2-40B4-BE49-F238E27FC236}">
                  <a16:creationId xmlns:a16="http://schemas.microsoft.com/office/drawing/2014/main" id="{0BF8B882-3A63-8548-8199-BB358FCAA3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8853" y="4604954"/>
              <a:ext cx="170106" cy="174602"/>
            </a:xfrm>
            <a:custGeom>
              <a:avLst/>
              <a:gdLst>
                <a:gd name="T0" fmla="*/ 227 w 227"/>
                <a:gd name="T1" fmla="*/ 60 h 233"/>
                <a:gd name="T2" fmla="*/ 64 w 227"/>
                <a:gd name="T3" fmla="*/ 0 h 233"/>
                <a:gd name="T4" fmla="*/ 0 w 227"/>
                <a:gd name="T5" fmla="*/ 173 h 233"/>
                <a:gd name="T6" fmla="*/ 164 w 227"/>
                <a:gd name="T7" fmla="*/ 233 h 233"/>
                <a:gd name="T8" fmla="*/ 227 w 227"/>
                <a:gd name="T9" fmla="*/ 60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7" h="233">
                  <a:moveTo>
                    <a:pt x="227" y="60"/>
                  </a:moveTo>
                  <a:lnTo>
                    <a:pt x="64" y="0"/>
                  </a:lnTo>
                  <a:lnTo>
                    <a:pt x="0" y="173"/>
                  </a:lnTo>
                  <a:lnTo>
                    <a:pt x="164" y="233"/>
                  </a:lnTo>
                  <a:lnTo>
                    <a:pt x="227" y="60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35">
              <a:extLst>
                <a:ext uri="{FF2B5EF4-FFF2-40B4-BE49-F238E27FC236}">
                  <a16:creationId xmlns:a16="http://schemas.microsoft.com/office/drawing/2014/main" id="{FC01C54E-B67B-7040-9394-0158C7C551E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9577" y="4628934"/>
              <a:ext cx="133387" cy="59949"/>
            </a:xfrm>
            <a:custGeom>
              <a:avLst/>
              <a:gdLst>
                <a:gd name="T0" fmla="*/ 178 w 180"/>
                <a:gd name="T1" fmla="*/ 73 h 81"/>
                <a:gd name="T2" fmla="*/ 165 w 180"/>
                <a:gd name="T3" fmla="*/ 79 h 81"/>
                <a:gd name="T4" fmla="*/ 7 w 180"/>
                <a:gd name="T5" fmla="*/ 21 h 81"/>
                <a:gd name="T6" fmla="*/ 2 w 180"/>
                <a:gd name="T7" fmla="*/ 8 h 81"/>
                <a:gd name="T8" fmla="*/ 2 w 180"/>
                <a:gd name="T9" fmla="*/ 8 h 81"/>
                <a:gd name="T10" fmla="*/ 14 w 180"/>
                <a:gd name="T11" fmla="*/ 2 h 81"/>
                <a:gd name="T12" fmla="*/ 172 w 180"/>
                <a:gd name="T13" fmla="*/ 60 h 81"/>
                <a:gd name="T14" fmla="*/ 178 w 180"/>
                <a:gd name="T15" fmla="*/ 73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0" h="81">
                  <a:moveTo>
                    <a:pt x="178" y="73"/>
                  </a:moveTo>
                  <a:cubicBezTo>
                    <a:pt x="176" y="78"/>
                    <a:pt x="170" y="81"/>
                    <a:pt x="165" y="79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2" y="19"/>
                    <a:pt x="0" y="14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4" y="3"/>
                    <a:pt x="9" y="0"/>
                    <a:pt x="14" y="2"/>
                  </a:cubicBezTo>
                  <a:cubicBezTo>
                    <a:pt x="172" y="60"/>
                    <a:pt x="172" y="60"/>
                    <a:pt x="172" y="60"/>
                  </a:cubicBezTo>
                  <a:cubicBezTo>
                    <a:pt x="177" y="62"/>
                    <a:pt x="180" y="67"/>
                    <a:pt x="178" y="73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36">
              <a:extLst>
                <a:ext uri="{FF2B5EF4-FFF2-40B4-BE49-F238E27FC236}">
                  <a16:creationId xmlns:a16="http://schemas.microsoft.com/office/drawing/2014/main" id="{EE7FBDAF-0769-DA44-B7FD-27068BAAD7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516347" y="4692630"/>
              <a:ext cx="132638" cy="59949"/>
            </a:xfrm>
            <a:custGeom>
              <a:avLst/>
              <a:gdLst>
                <a:gd name="T0" fmla="*/ 178 w 180"/>
                <a:gd name="T1" fmla="*/ 73 h 81"/>
                <a:gd name="T2" fmla="*/ 166 w 180"/>
                <a:gd name="T3" fmla="*/ 80 h 81"/>
                <a:gd name="T4" fmla="*/ 7 w 180"/>
                <a:gd name="T5" fmla="*/ 21 h 81"/>
                <a:gd name="T6" fmla="*/ 2 w 180"/>
                <a:gd name="T7" fmla="*/ 8 h 81"/>
                <a:gd name="T8" fmla="*/ 2 w 180"/>
                <a:gd name="T9" fmla="*/ 8 h 81"/>
                <a:gd name="T10" fmla="*/ 14 w 180"/>
                <a:gd name="T11" fmla="*/ 2 h 81"/>
                <a:gd name="T12" fmla="*/ 173 w 180"/>
                <a:gd name="T13" fmla="*/ 60 h 81"/>
                <a:gd name="T14" fmla="*/ 178 w 180"/>
                <a:gd name="T15" fmla="*/ 73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0" h="81">
                  <a:moveTo>
                    <a:pt x="178" y="73"/>
                  </a:moveTo>
                  <a:cubicBezTo>
                    <a:pt x="176" y="78"/>
                    <a:pt x="170" y="81"/>
                    <a:pt x="166" y="80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2" y="20"/>
                    <a:pt x="0" y="14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4" y="3"/>
                    <a:pt x="9" y="0"/>
                    <a:pt x="14" y="2"/>
                  </a:cubicBezTo>
                  <a:cubicBezTo>
                    <a:pt x="173" y="60"/>
                    <a:pt x="173" y="60"/>
                    <a:pt x="173" y="60"/>
                  </a:cubicBezTo>
                  <a:cubicBezTo>
                    <a:pt x="178" y="62"/>
                    <a:pt x="180" y="68"/>
                    <a:pt x="178" y="73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37">
              <a:extLst>
                <a:ext uri="{FF2B5EF4-FFF2-40B4-BE49-F238E27FC236}">
                  <a16:creationId xmlns:a16="http://schemas.microsoft.com/office/drawing/2014/main" id="{6803FA62-1D6A-C346-931C-E2E37AF09D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6787" y="4542757"/>
              <a:ext cx="54704" cy="65195"/>
            </a:xfrm>
            <a:custGeom>
              <a:avLst/>
              <a:gdLst>
                <a:gd name="T0" fmla="*/ 58 w 74"/>
                <a:gd name="T1" fmla="*/ 70 h 88"/>
                <a:gd name="T2" fmla="*/ 32 w 74"/>
                <a:gd name="T3" fmla="*/ 84 h 88"/>
                <a:gd name="T4" fmla="*/ 15 w 74"/>
                <a:gd name="T5" fmla="*/ 78 h 88"/>
                <a:gd name="T6" fmla="*/ 5 w 74"/>
                <a:gd name="T7" fmla="*/ 51 h 88"/>
                <a:gd name="T8" fmla="*/ 17 w 74"/>
                <a:gd name="T9" fmla="*/ 18 h 88"/>
                <a:gd name="T10" fmla="*/ 42 w 74"/>
                <a:gd name="T11" fmla="*/ 4 h 88"/>
                <a:gd name="T12" fmla="*/ 59 w 74"/>
                <a:gd name="T13" fmla="*/ 10 h 88"/>
                <a:gd name="T14" fmla="*/ 70 w 74"/>
                <a:gd name="T15" fmla="*/ 38 h 88"/>
                <a:gd name="T16" fmla="*/ 58 w 74"/>
                <a:gd name="T17" fmla="*/ 7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4" h="88">
                  <a:moveTo>
                    <a:pt x="58" y="70"/>
                  </a:moveTo>
                  <a:cubicBezTo>
                    <a:pt x="54" y="82"/>
                    <a:pt x="42" y="88"/>
                    <a:pt x="32" y="84"/>
                  </a:cubicBezTo>
                  <a:cubicBezTo>
                    <a:pt x="15" y="78"/>
                    <a:pt x="15" y="78"/>
                    <a:pt x="15" y="78"/>
                  </a:cubicBezTo>
                  <a:cubicBezTo>
                    <a:pt x="5" y="74"/>
                    <a:pt x="0" y="62"/>
                    <a:pt x="5" y="51"/>
                  </a:cubicBezTo>
                  <a:cubicBezTo>
                    <a:pt x="17" y="18"/>
                    <a:pt x="17" y="18"/>
                    <a:pt x="17" y="18"/>
                  </a:cubicBezTo>
                  <a:cubicBezTo>
                    <a:pt x="21" y="7"/>
                    <a:pt x="32" y="0"/>
                    <a:pt x="42" y="4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69" y="14"/>
                    <a:pt x="74" y="26"/>
                    <a:pt x="70" y="38"/>
                  </a:cubicBezTo>
                  <a:lnTo>
                    <a:pt x="58" y="70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9" name="Group 16">
            <a:extLst>
              <a:ext uri="{FF2B5EF4-FFF2-40B4-BE49-F238E27FC236}">
                <a16:creationId xmlns:a16="http://schemas.microsoft.com/office/drawing/2014/main" id="{92BAEF39-9F4D-244D-BE51-0D49DC91D9C7}"/>
              </a:ext>
            </a:extLst>
          </p:cNvPr>
          <p:cNvGrpSpPr/>
          <p:nvPr/>
        </p:nvGrpSpPr>
        <p:grpSpPr>
          <a:xfrm>
            <a:off x="1752548" y="2129574"/>
            <a:ext cx="371685" cy="747867"/>
            <a:chOff x="7874141" y="4300712"/>
            <a:chExt cx="371685" cy="747867"/>
          </a:xfrm>
        </p:grpSpPr>
        <p:sp>
          <p:nvSpPr>
            <p:cNvPr id="30" name="Freeform 38">
              <a:extLst>
                <a:ext uri="{FF2B5EF4-FFF2-40B4-BE49-F238E27FC236}">
                  <a16:creationId xmlns:a16="http://schemas.microsoft.com/office/drawing/2014/main" id="{6601C4EF-46A0-A344-AD9C-D7DC5FE2B3F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26677" y="4300712"/>
              <a:ext cx="59949" cy="83180"/>
            </a:xfrm>
            <a:custGeom>
              <a:avLst/>
              <a:gdLst>
                <a:gd name="T0" fmla="*/ 70 w 81"/>
                <a:gd name="T1" fmla="*/ 82 h 113"/>
                <a:gd name="T2" fmla="*/ 31 w 81"/>
                <a:gd name="T3" fmla="*/ 110 h 113"/>
                <a:gd name="T4" fmla="*/ 31 w 81"/>
                <a:gd name="T5" fmla="*/ 110 h 113"/>
                <a:gd name="T6" fmla="*/ 3 w 81"/>
                <a:gd name="T7" fmla="*/ 70 h 113"/>
                <a:gd name="T8" fmla="*/ 10 w 81"/>
                <a:gd name="T9" fmla="*/ 30 h 113"/>
                <a:gd name="T10" fmla="*/ 50 w 81"/>
                <a:gd name="T11" fmla="*/ 3 h 113"/>
                <a:gd name="T12" fmla="*/ 50 w 81"/>
                <a:gd name="T13" fmla="*/ 3 h 113"/>
                <a:gd name="T14" fmla="*/ 77 w 81"/>
                <a:gd name="T15" fmla="*/ 43 h 113"/>
                <a:gd name="T16" fmla="*/ 70 w 81"/>
                <a:gd name="T17" fmla="*/ 82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1" h="113">
                  <a:moveTo>
                    <a:pt x="70" y="82"/>
                  </a:moveTo>
                  <a:cubicBezTo>
                    <a:pt x="67" y="101"/>
                    <a:pt x="49" y="113"/>
                    <a:pt x="31" y="110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12" y="106"/>
                    <a:pt x="0" y="89"/>
                    <a:pt x="3" y="70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14" y="12"/>
                    <a:pt x="31" y="0"/>
                    <a:pt x="50" y="3"/>
                  </a:cubicBezTo>
                  <a:cubicBezTo>
                    <a:pt x="50" y="3"/>
                    <a:pt x="50" y="3"/>
                    <a:pt x="50" y="3"/>
                  </a:cubicBezTo>
                  <a:cubicBezTo>
                    <a:pt x="69" y="6"/>
                    <a:pt x="81" y="24"/>
                    <a:pt x="77" y="43"/>
                  </a:cubicBezTo>
                  <a:lnTo>
                    <a:pt x="70" y="82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9">
              <a:extLst>
                <a:ext uri="{FF2B5EF4-FFF2-40B4-BE49-F238E27FC236}">
                  <a16:creationId xmlns:a16="http://schemas.microsoft.com/office/drawing/2014/main" id="{E396C00F-B4FC-AD44-ABD3-E4E1A7C9B99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7138" y="4902452"/>
              <a:ext cx="44213" cy="71190"/>
            </a:xfrm>
            <a:custGeom>
              <a:avLst/>
              <a:gdLst>
                <a:gd name="T0" fmla="*/ 55 w 60"/>
                <a:gd name="T1" fmla="*/ 0 h 96"/>
                <a:gd name="T2" fmla="*/ 57 w 60"/>
                <a:gd name="T3" fmla="*/ 7 h 96"/>
                <a:gd name="T4" fmla="*/ 59 w 60"/>
                <a:gd name="T5" fmla="*/ 13 h 96"/>
                <a:gd name="T6" fmla="*/ 59 w 60"/>
                <a:gd name="T7" fmla="*/ 18 h 96"/>
                <a:gd name="T8" fmla="*/ 58 w 60"/>
                <a:gd name="T9" fmla="*/ 21 h 96"/>
                <a:gd name="T10" fmla="*/ 40 w 60"/>
                <a:gd name="T11" fmla="*/ 54 h 96"/>
                <a:gd name="T12" fmla="*/ 23 w 60"/>
                <a:gd name="T13" fmla="*/ 86 h 96"/>
                <a:gd name="T14" fmla="*/ 21 w 60"/>
                <a:gd name="T15" fmla="*/ 90 h 96"/>
                <a:gd name="T16" fmla="*/ 17 w 60"/>
                <a:gd name="T17" fmla="*/ 91 h 96"/>
                <a:gd name="T18" fmla="*/ 10 w 60"/>
                <a:gd name="T19" fmla="*/ 94 h 96"/>
                <a:gd name="T20" fmla="*/ 4 w 60"/>
                <a:gd name="T21" fmla="*/ 96 h 96"/>
                <a:gd name="T22" fmla="*/ 2 w 60"/>
                <a:gd name="T23" fmla="*/ 89 h 96"/>
                <a:gd name="T24" fmla="*/ 1 w 60"/>
                <a:gd name="T25" fmla="*/ 83 h 96"/>
                <a:gd name="T26" fmla="*/ 0 w 60"/>
                <a:gd name="T27" fmla="*/ 78 h 96"/>
                <a:gd name="T28" fmla="*/ 2 w 60"/>
                <a:gd name="T29" fmla="*/ 75 h 96"/>
                <a:gd name="T30" fmla="*/ 19 w 60"/>
                <a:gd name="T31" fmla="*/ 42 h 96"/>
                <a:gd name="T32" fmla="*/ 37 w 60"/>
                <a:gd name="T33" fmla="*/ 10 h 96"/>
                <a:gd name="T34" fmla="*/ 38 w 60"/>
                <a:gd name="T35" fmla="*/ 6 h 96"/>
                <a:gd name="T36" fmla="*/ 42 w 60"/>
                <a:gd name="T37" fmla="*/ 5 h 96"/>
                <a:gd name="T38" fmla="*/ 49 w 60"/>
                <a:gd name="T39" fmla="*/ 2 h 96"/>
                <a:gd name="T40" fmla="*/ 55 w 60"/>
                <a:gd name="T41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0" h="96">
                  <a:moveTo>
                    <a:pt x="55" y="0"/>
                  </a:moveTo>
                  <a:cubicBezTo>
                    <a:pt x="55" y="0"/>
                    <a:pt x="56" y="3"/>
                    <a:pt x="57" y="7"/>
                  </a:cubicBezTo>
                  <a:cubicBezTo>
                    <a:pt x="58" y="8"/>
                    <a:pt x="58" y="11"/>
                    <a:pt x="59" y="13"/>
                  </a:cubicBezTo>
                  <a:cubicBezTo>
                    <a:pt x="59" y="15"/>
                    <a:pt x="59" y="16"/>
                    <a:pt x="59" y="18"/>
                  </a:cubicBezTo>
                  <a:cubicBezTo>
                    <a:pt x="60" y="19"/>
                    <a:pt x="58" y="19"/>
                    <a:pt x="58" y="21"/>
                  </a:cubicBezTo>
                  <a:cubicBezTo>
                    <a:pt x="53" y="30"/>
                    <a:pt x="47" y="42"/>
                    <a:pt x="40" y="54"/>
                  </a:cubicBezTo>
                  <a:cubicBezTo>
                    <a:pt x="34" y="66"/>
                    <a:pt x="27" y="77"/>
                    <a:pt x="23" y="86"/>
                  </a:cubicBezTo>
                  <a:cubicBezTo>
                    <a:pt x="22" y="87"/>
                    <a:pt x="22" y="89"/>
                    <a:pt x="21" y="90"/>
                  </a:cubicBezTo>
                  <a:cubicBezTo>
                    <a:pt x="19" y="90"/>
                    <a:pt x="18" y="91"/>
                    <a:pt x="17" y="91"/>
                  </a:cubicBezTo>
                  <a:cubicBezTo>
                    <a:pt x="14" y="92"/>
                    <a:pt x="12" y="93"/>
                    <a:pt x="10" y="94"/>
                  </a:cubicBezTo>
                  <a:cubicBezTo>
                    <a:pt x="6" y="95"/>
                    <a:pt x="4" y="96"/>
                    <a:pt x="4" y="96"/>
                  </a:cubicBezTo>
                  <a:cubicBezTo>
                    <a:pt x="4" y="96"/>
                    <a:pt x="3" y="93"/>
                    <a:pt x="2" y="89"/>
                  </a:cubicBezTo>
                  <a:cubicBezTo>
                    <a:pt x="2" y="88"/>
                    <a:pt x="1" y="85"/>
                    <a:pt x="1" y="83"/>
                  </a:cubicBezTo>
                  <a:cubicBezTo>
                    <a:pt x="1" y="81"/>
                    <a:pt x="0" y="80"/>
                    <a:pt x="0" y="78"/>
                  </a:cubicBezTo>
                  <a:cubicBezTo>
                    <a:pt x="0" y="77"/>
                    <a:pt x="1" y="76"/>
                    <a:pt x="2" y="75"/>
                  </a:cubicBezTo>
                  <a:cubicBezTo>
                    <a:pt x="6" y="66"/>
                    <a:pt x="13" y="54"/>
                    <a:pt x="19" y="42"/>
                  </a:cubicBezTo>
                  <a:cubicBezTo>
                    <a:pt x="25" y="30"/>
                    <a:pt x="32" y="18"/>
                    <a:pt x="37" y="10"/>
                  </a:cubicBezTo>
                  <a:cubicBezTo>
                    <a:pt x="38" y="9"/>
                    <a:pt x="37" y="7"/>
                    <a:pt x="38" y="6"/>
                  </a:cubicBezTo>
                  <a:cubicBezTo>
                    <a:pt x="40" y="6"/>
                    <a:pt x="41" y="5"/>
                    <a:pt x="42" y="5"/>
                  </a:cubicBezTo>
                  <a:cubicBezTo>
                    <a:pt x="45" y="4"/>
                    <a:pt x="47" y="3"/>
                    <a:pt x="49" y="2"/>
                  </a:cubicBezTo>
                  <a:cubicBezTo>
                    <a:pt x="53" y="1"/>
                    <a:pt x="55" y="0"/>
                    <a:pt x="55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40">
              <a:extLst>
                <a:ext uri="{FF2B5EF4-FFF2-40B4-BE49-F238E27FC236}">
                  <a16:creationId xmlns:a16="http://schemas.microsoft.com/office/drawing/2014/main" id="{C672A9D2-DED5-8341-B4B3-A796C88A85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5102" y="4914442"/>
              <a:ext cx="30724" cy="66694"/>
            </a:xfrm>
            <a:custGeom>
              <a:avLst/>
              <a:gdLst>
                <a:gd name="T0" fmla="*/ 42 w 42"/>
                <a:gd name="T1" fmla="*/ 70 h 91"/>
                <a:gd name="T2" fmla="*/ 24 w 42"/>
                <a:gd name="T3" fmla="*/ 90 h 91"/>
                <a:gd name="T4" fmla="*/ 24 w 42"/>
                <a:gd name="T5" fmla="*/ 90 h 91"/>
                <a:gd name="T6" fmla="*/ 4 w 42"/>
                <a:gd name="T7" fmla="*/ 72 h 91"/>
                <a:gd name="T8" fmla="*/ 1 w 42"/>
                <a:gd name="T9" fmla="*/ 21 h 91"/>
                <a:gd name="T10" fmla="*/ 18 w 42"/>
                <a:gd name="T11" fmla="*/ 1 h 91"/>
                <a:gd name="T12" fmla="*/ 18 w 42"/>
                <a:gd name="T13" fmla="*/ 1 h 91"/>
                <a:gd name="T14" fmla="*/ 38 w 42"/>
                <a:gd name="T15" fmla="*/ 19 h 91"/>
                <a:gd name="T16" fmla="*/ 42 w 42"/>
                <a:gd name="T17" fmla="*/ 7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" h="91">
                  <a:moveTo>
                    <a:pt x="42" y="70"/>
                  </a:moveTo>
                  <a:cubicBezTo>
                    <a:pt x="42" y="80"/>
                    <a:pt x="34" y="89"/>
                    <a:pt x="24" y="90"/>
                  </a:cubicBezTo>
                  <a:cubicBezTo>
                    <a:pt x="24" y="90"/>
                    <a:pt x="24" y="90"/>
                    <a:pt x="24" y="90"/>
                  </a:cubicBezTo>
                  <a:cubicBezTo>
                    <a:pt x="13" y="91"/>
                    <a:pt x="4" y="83"/>
                    <a:pt x="4" y="72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0" y="11"/>
                    <a:pt x="8" y="2"/>
                    <a:pt x="18" y="1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29" y="0"/>
                    <a:pt x="38" y="8"/>
                    <a:pt x="38" y="19"/>
                  </a:cubicBezTo>
                  <a:lnTo>
                    <a:pt x="42" y="7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41">
              <a:extLst>
                <a:ext uri="{FF2B5EF4-FFF2-40B4-BE49-F238E27FC236}">
                  <a16:creationId xmlns:a16="http://schemas.microsoft.com/office/drawing/2014/main" id="{2FE09329-9D89-0641-9F26-A01AEA4A4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3370" y="4948164"/>
              <a:ext cx="36719" cy="2248"/>
            </a:xfrm>
            <a:custGeom>
              <a:avLst/>
              <a:gdLst>
                <a:gd name="T0" fmla="*/ 49 w 49"/>
                <a:gd name="T1" fmla="*/ 0 h 3"/>
                <a:gd name="T2" fmla="*/ 0 w 49"/>
                <a:gd name="T3" fmla="*/ 3 h 3"/>
                <a:gd name="T4" fmla="*/ 49 w 49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9" h="3">
                  <a:moveTo>
                    <a:pt x="49" y="0"/>
                  </a:moveTo>
                  <a:lnTo>
                    <a:pt x="0" y="3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Line 42">
              <a:extLst>
                <a:ext uri="{FF2B5EF4-FFF2-40B4-BE49-F238E27FC236}">
                  <a16:creationId xmlns:a16="http://schemas.microsoft.com/office/drawing/2014/main" id="{0E3EF241-E327-3B4B-A025-52782CCE350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193370" y="4948164"/>
              <a:ext cx="36719" cy="224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43">
              <a:extLst>
                <a:ext uri="{FF2B5EF4-FFF2-40B4-BE49-F238E27FC236}">
                  <a16:creationId xmlns:a16="http://schemas.microsoft.com/office/drawing/2014/main" id="{ECF7B153-BFB2-B741-A95E-9FC9452288E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2621" y="4939171"/>
              <a:ext cx="38218" cy="20233"/>
            </a:xfrm>
            <a:custGeom>
              <a:avLst/>
              <a:gdLst>
                <a:gd name="T0" fmla="*/ 51 w 51"/>
                <a:gd name="T1" fmla="*/ 23 h 27"/>
                <a:gd name="T2" fmla="*/ 2 w 51"/>
                <a:gd name="T3" fmla="*/ 27 h 27"/>
                <a:gd name="T4" fmla="*/ 0 w 51"/>
                <a:gd name="T5" fmla="*/ 3 h 27"/>
                <a:gd name="T6" fmla="*/ 49 w 51"/>
                <a:gd name="T7" fmla="*/ 0 h 27"/>
                <a:gd name="T8" fmla="*/ 51 w 51"/>
                <a:gd name="T9" fmla="*/ 2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27">
                  <a:moveTo>
                    <a:pt x="51" y="23"/>
                  </a:moveTo>
                  <a:lnTo>
                    <a:pt x="2" y="27"/>
                  </a:lnTo>
                  <a:lnTo>
                    <a:pt x="0" y="3"/>
                  </a:lnTo>
                  <a:lnTo>
                    <a:pt x="49" y="0"/>
                  </a:lnTo>
                  <a:lnTo>
                    <a:pt x="51" y="23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44">
              <a:extLst>
                <a:ext uri="{FF2B5EF4-FFF2-40B4-BE49-F238E27FC236}">
                  <a16:creationId xmlns:a16="http://schemas.microsoft.com/office/drawing/2014/main" id="{507695A2-F1E5-4847-89A1-9FEF33DDEB13}"/>
                </a:ext>
              </a:extLst>
            </p:cNvPr>
            <p:cNvSpPr>
              <a:spLocks/>
            </p:cNvSpPr>
            <p:nvPr/>
          </p:nvSpPr>
          <p:spPr bwMode="auto">
            <a:xfrm>
              <a:off x="8187375" y="4969146"/>
              <a:ext cx="6744" cy="79433"/>
            </a:xfrm>
            <a:custGeom>
              <a:avLst/>
              <a:gdLst>
                <a:gd name="T0" fmla="*/ 0 w 9"/>
                <a:gd name="T1" fmla="*/ 0 h 106"/>
                <a:gd name="T2" fmla="*/ 9 w 9"/>
                <a:gd name="T3" fmla="*/ 106 h 106"/>
                <a:gd name="T4" fmla="*/ 0 w 9"/>
                <a:gd name="T5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06">
                  <a:moveTo>
                    <a:pt x="0" y="0"/>
                  </a:moveTo>
                  <a:lnTo>
                    <a:pt x="9" y="10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Line 45">
              <a:extLst>
                <a:ext uri="{FF2B5EF4-FFF2-40B4-BE49-F238E27FC236}">
                  <a16:creationId xmlns:a16="http://schemas.microsoft.com/office/drawing/2014/main" id="{943EBA1E-4BDB-A24E-BE58-53AE5D61858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187375" y="4969146"/>
              <a:ext cx="6744" cy="79433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46">
              <a:extLst>
                <a:ext uri="{FF2B5EF4-FFF2-40B4-BE49-F238E27FC236}">
                  <a16:creationId xmlns:a16="http://schemas.microsoft.com/office/drawing/2014/main" id="{6CD20F6E-5D80-3C49-909F-A3A1D1DC616B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9132" y="4969146"/>
              <a:ext cx="23980" cy="79433"/>
            </a:xfrm>
            <a:custGeom>
              <a:avLst/>
              <a:gdLst>
                <a:gd name="T0" fmla="*/ 11 w 32"/>
                <a:gd name="T1" fmla="*/ 0 h 108"/>
                <a:gd name="T2" fmla="*/ 16 w 32"/>
                <a:gd name="T3" fmla="*/ 5 h 108"/>
                <a:gd name="T4" fmla="*/ 21 w 32"/>
                <a:gd name="T5" fmla="*/ 10 h 108"/>
                <a:gd name="T6" fmla="*/ 24 w 32"/>
                <a:gd name="T7" fmla="*/ 13 h 108"/>
                <a:gd name="T8" fmla="*/ 25 w 32"/>
                <a:gd name="T9" fmla="*/ 16 h 108"/>
                <a:gd name="T10" fmla="*/ 27 w 32"/>
                <a:gd name="T11" fmla="*/ 54 h 108"/>
                <a:gd name="T12" fmla="*/ 30 w 32"/>
                <a:gd name="T13" fmla="*/ 91 h 108"/>
                <a:gd name="T14" fmla="*/ 31 w 32"/>
                <a:gd name="T15" fmla="*/ 94 h 108"/>
                <a:gd name="T16" fmla="*/ 28 w 32"/>
                <a:gd name="T17" fmla="*/ 98 h 108"/>
                <a:gd name="T18" fmla="*/ 24 w 32"/>
                <a:gd name="T19" fmla="*/ 103 h 108"/>
                <a:gd name="T20" fmla="*/ 20 w 32"/>
                <a:gd name="T21" fmla="*/ 108 h 108"/>
                <a:gd name="T22" fmla="*/ 15 w 32"/>
                <a:gd name="T23" fmla="*/ 104 h 108"/>
                <a:gd name="T24" fmla="*/ 10 w 32"/>
                <a:gd name="T25" fmla="*/ 99 h 108"/>
                <a:gd name="T26" fmla="*/ 7 w 32"/>
                <a:gd name="T27" fmla="*/ 96 h 108"/>
                <a:gd name="T28" fmla="*/ 7 w 32"/>
                <a:gd name="T29" fmla="*/ 93 h 108"/>
                <a:gd name="T30" fmla="*/ 4 w 32"/>
                <a:gd name="T31" fmla="*/ 55 h 108"/>
                <a:gd name="T32" fmla="*/ 1 w 32"/>
                <a:gd name="T33" fmla="*/ 18 h 108"/>
                <a:gd name="T34" fmla="*/ 1 w 32"/>
                <a:gd name="T35" fmla="*/ 15 h 108"/>
                <a:gd name="T36" fmla="*/ 3 w 32"/>
                <a:gd name="T37" fmla="*/ 11 h 108"/>
                <a:gd name="T38" fmla="*/ 7 w 32"/>
                <a:gd name="T39" fmla="*/ 5 h 108"/>
                <a:gd name="T40" fmla="*/ 11 w 32"/>
                <a:gd name="T41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" h="108">
                  <a:moveTo>
                    <a:pt x="11" y="0"/>
                  </a:moveTo>
                  <a:cubicBezTo>
                    <a:pt x="11" y="0"/>
                    <a:pt x="13" y="2"/>
                    <a:pt x="16" y="5"/>
                  </a:cubicBezTo>
                  <a:cubicBezTo>
                    <a:pt x="18" y="6"/>
                    <a:pt x="20" y="8"/>
                    <a:pt x="21" y="10"/>
                  </a:cubicBezTo>
                  <a:cubicBezTo>
                    <a:pt x="22" y="11"/>
                    <a:pt x="23" y="12"/>
                    <a:pt x="24" y="13"/>
                  </a:cubicBezTo>
                  <a:cubicBezTo>
                    <a:pt x="25" y="14"/>
                    <a:pt x="24" y="15"/>
                    <a:pt x="25" y="16"/>
                  </a:cubicBezTo>
                  <a:cubicBezTo>
                    <a:pt x="25" y="27"/>
                    <a:pt x="26" y="40"/>
                    <a:pt x="27" y="54"/>
                  </a:cubicBezTo>
                  <a:cubicBezTo>
                    <a:pt x="29" y="67"/>
                    <a:pt x="30" y="81"/>
                    <a:pt x="30" y="91"/>
                  </a:cubicBezTo>
                  <a:cubicBezTo>
                    <a:pt x="30" y="92"/>
                    <a:pt x="32" y="93"/>
                    <a:pt x="31" y="94"/>
                  </a:cubicBezTo>
                  <a:cubicBezTo>
                    <a:pt x="30" y="96"/>
                    <a:pt x="29" y="97"/>
                    <a:pt x="28" y="98"/>
                  </a:cubicBezTo>
                  <a:cubicBezTo>
                    <a:pt x="27" y="100"/>
                    <a:pt x="25" y="102"/>
                    <a:pt x="24" y="103"/>
                  </a:cubicBezTo>
                  <a:cubicBezTo>
                    <a:pt x="22" y="107"/>
                    <a:pt x="20" y="108"/>
                    <a:pt x="20" y="108"/>
                  </a:cubicBezTo>
                  <a:cubicBezTo>
                    <a:pt x="20" y="108"/>
                    <a:pt x="18" y="107"/>
                    <a:pt x="15" y="104"/>
                  </a:cubicBezTo>
                  <a:cubicBezTo>
                    <a:pt x="14" y="103"/>
                    <a:pt x="12" y="101"/>
                    <a:pt x="10" y="99"/>
                  </a:cubicBezTo>
                  <a:cubicBezTo>
                    <a:pt x="9" y="98"/>
                    <a:pt x="8" y="97"/>
                    <a:pt x="7" y="96"/>
                  </a:cubicBezTo>
                  <a:cubicBezTo>
                    <a:pt x="6" y="95"/>
                    <a:pt x="7" y="94"/>
                    <a:pt x="7" y="93"/>
                  </a:cubicBezTo>
                  <a:cubicBezTo>
                    <a:pt x="6" y="82"/>
                    <a:pt x="5" y="69"/>
                    <a:pt x="4" y="55"/>
                  </a:cubicBezTo>
                  <a:cubicBezTo>
                    <a:pt x="3" y="42"/>
                    <a:pt x="2" y="28"/>
                    <a:pt x="1" y="18"/>
                  </a:cubicBezTo>
                  <a:cubicBezTo>
                    <a:pt x="1" y="17"/>
                    <a:pt x="0" y="16"/>
                    <a:pt x="1" y="15"/>
                  </a:cubicBezTo>
                  <a:cubicBezTo>
                    <a:pt x="1" y="13"/>
                    <a:pt x="2" y="12"/>
                    <a:pt x="3" y="11"/>
                  </a:cubicBezTo>
                  <a:cubicBezTo>
                    <a:pt x="4" y="9"/>
                    <a:pt x="6" y="7"/>
                    <a:pt x="7" y="5"/>
                  </a:cubicBezTo>
                  <a:cubicBezTo>
                    <a:pt x="10" y="2"/>
                    <a:pt x="11" y="0"/>
                    <a:pt x="11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47">
              <a:extLst>
                <a:ext uri="{FF2B5EF4-FFF2-40B4-BE49-F238E27FC236}">
                  <a16:creationId xmlns:a16="http://schemas.microsoft.com/office/drawing/2014/main" id="{32AA93E9-CDFF-6242-9833-19351B6D465B}"/>
                </a:ext>
              </a:extLst>
            </p:cNvPr>
            <p:cNvSpPr>
              <a:spLocks/>
            </p:cNvSpPr>
            <p:nvPr/>
          </p:nvSpPr>
          <p:spPr bwMode="auto">
            <a:xfrm>
              <a:off x="7974556" y="4568235"/>
              <a:ext cx="263777" cy="102663"/>
            </a:xfrm>
            <a:custGeom>
              <a:avLst/>
              <a:gdLst>
                <a:gd name="T0" fmla="*/ 355 w 357"/>
                <a:gd name="T1" fmla="*/ 84 h 139"/>
                <a:gd name="T2" fmla="*/ 341 w 357"/>
                <a:gd name="T3" fmla="*/ 76 h 139"/>
                <a:gd name="T4" fmla="*/ 329 w 357"/>
                <a:gd name="T5" fmla="*/ 79 h 139"/>
                <a:gd name="T6" fmla="*/ 326 w 357"/>
                <a:gd name="T7" fmla="*/ 62 h 139"/>
                <a:gd name="T8" fmla="*/ 309 w 357"/>
                <a:gd name="T9" fmla="*/ 50 h 139"/>
                <a:gd name="T10" fmla="*/ 297 w 357"/>
                <a:gd name="T11" fmla="*/ 68 h 139"/>
                <a:gd name="T12" fmla="*/ 301 w 357"/>
                <a:gd name="T13" fmla="*/ 86 h 139"/>
                <a:gd name="T14" fmla="*/ 55 w 357"/>
                <a:gd name="T15" fmla="*/ 40 h 139"/>
                <a:gd name="T16" fmla="*/ 64 w 357"/>
                <a:gd name="T17" fmla="*/ 25 h 139"/>
                <a:gd name="T18" fmla="*/ 59 w 357"/>
                <a:gd name="T19" fmla="*/ 5 h 139"/>
                <a:gd name="T20" fmla="*/ 38 w 357"/>
                <a:gd name="T21" fmla="*/ 10 h 139"/>
                <a:gd name="T22" fmla="*/ 30 w 357"/>
                <a:gd name="T23" fmla="*/ 24 h 139"/>
                <a:gd name="T24" fmla="*/ 20 w 357"/>
                <a:gd name="T25" fmla="*/ 18 h 139"/>
                <a:gd name="T26" fmla="*/ 4 w 357"/>
                <a:gd name="T27" fmla="*/ 20 h 139"/>
                <a:gd name="T28" fmla="*/ 6 w 357"/>
                <a:gd name="T29" fmla="*/ 37 h 139"/>
                <a:gd name="T30" fmla="*/ 17 w 357"/>
                <a:gd name="T31" fmla="*/ 45 h 139"/>
                <a:gd name="T32" fmla="*/ 8 w 357"/>
                <a:gd name="T33" fmla="*/ 60 h 139"/>
                <a:gd name="T34" fmla="*/ 13 w 357"/>
                <a:gd name="T35" fmla="*/ 81 h 139"/>
                <a:gd name="T36" fmla="*/ 33 w 357"/>
                <a:gd name="T37" fmla="*/ 76 h 139"/>
                <a:gd name="T38" fmla="*/ 42 w 357"/>
                <a:gd name="T39" fmla="*/ 61 h 139"/>
                <a:gd name="T40" fmla="*/ 176 w 357"/>
                <a:gd name="T41" fmla="*/ 110 h 139"/>
                <a:gd name="T42" fmla="*/ 305 w 357"/>
                <a:gd name="T43" fmla="*/ 110 h 139"/>
                <a:gd name="T44" fmla="*/ 308 w 357"/>
                <a:gd name="T45" fmla="*/ 126 h 139"/>
                <a:gd name="T46" fmla="*/ 325 w 357"/>
                <a:gd name="T47" fmla="*/ 138 h 139"/>
                <a:gd name="T48" fmla="*/ 337 w 357"/>
                <a:gd name="T49" fmla="*/ 120 h 139"/>
                <a:gd name="T50" fmla="*/ 334 w 357"/>
                <a:gd name="T51" fmla="*/ 103 h 139"/>
                <a:gd name="T52" fmla="*/ 347 w 357"/>
                <a:gd name="T53" fmla="*/ 99 h 139"/>
                <a:gd name="T54" fmla="*/ 355 w 357"/>
                <a:gd name="T55" fmla="*/ 84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57" h="139">
                  <a:moveTo>
                    <a:pt x="355" y="84"/>
                  </a:moveTo>
                  <a:cubicBezTo>
                    <a:pt x="353" y="78"/>
                    <a:pt x="347" y="74"/>
                    <a:pt x="341" y="76"/>
                  </a:cubicBezTo>
                  <a:cubicBezTo>
                    <a:pt x="337" y="77"/>
                    <a:pt x="333" y="78"/>
                    <a:pt x="329" y="79"/>
                  </a:cubicBezTo>
                  <a:cubicBezTo>
                    <a:pt x="326" y="62"/>
                    <a:pt x="326" y="62"/>
                    <a:pt x="326" y="62"/>
                  </a:cubicBezTo>
                  <a:cubicBezTo>
                    <a:pt x="325" y="54"/>
                    <a:pt x="317" y="48"/>
                    <a:pt x="309" y="50"/>
                  </a:cubicBezTo>
                  <a:cubicBezTo>
                    <a:pt x="301" y="52"/>
                    <a:pt x="296" y="60"/>
                    <a:pt x="297" y="68"/>
                  </a:cubicBezTo>
                  <a:cubicBezTo>
                    <a:pt x="301" y="86"/>
                    <a:pt x="301" y="86"/>
                    <a:pt x="301" y="86"/>
                  </a:cubicBezTo>
                  <a:cubicBezTo>
                    <a:pt x="195" y="106"/>
                    <a:pt x="103" y="67"/>
                    <a:pt x="55" y="40"/>
                  </a:cubicBezTo>
                  <a:cubicBezTo>
                    <a:pt x="64" y="25"/>
                    <a:pt x="64" y="25"/>
                    <a:pt x="64" y="25"/>
                  </a:cubicBezTo>
                  <a:cubicBezTo>
                    <a:pt x="68" y="18"/>
                    <a:pt x="66" y="9"/>
                    <a:pt x="59" y="5"/>
                  </a:cubicBezTo>
                  <a:cubicBezTo>
                    <a:pt x="52" y="0"/>
                    <a:pt x="43" y="3"/>
                    <a:pt x="38" y="10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24" y="20"/>
                    <a:pt x="20" y="18"/>
                    <a:pt x="20" y="18"/>
                  </a:cubicBezTo>
                  <a:cubicBezTo>
                    <a:pt x="15" y="14"/>
                    <a:pt x="8" y="15"/>
                    <a:pt x="4" y="20"/>
                  </a:cubicBezTo>
                  <a:cubicBezTo>
                    <a:pt x="0" y="25"/>
                    <a:pt x="1" y="33"/>
                    <a:pt x="6" y="37"/>
                  </a:cubicBezTo>
                  <a:cubicBezTo>
                    <a:pt x="7" y="37"/>
                    <a:pt x="11" y="40"/>
                    <a:pt x="17" y="45"/>
                  </a:cubicBezTo>
                  <a:cubicBezTo>
                    <a:pt x="8" y="60"/>
                    <a:pt x="8" y="60"/>
                    <a:pt x="8" y="60"/>
                  </a:cubicBezTo>
                  <a:cubicBezTo>
                    <a:pt x="4" y="67"/>
                    <a:pt x="6" y="77"/>
                    <a:pt x="13" y="81"/>
                  </a:cubicBezTo>
                  <a:cubicBezTo>
                    <a:pt x="20" y="85"/>
                    <a:pt x="29" y="83"/>
                    <a:pt x="33" y="76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72" y="78"/>
                    <a:pt x="119" y="99"/>
                    <a:pt x="176" y="110"/>
                  </a:cubicBezTo>
                  <a:cubicBezTo>
                    <a:pt x="215" y="117"/>
                    <a:pt x="258" y="118"/>
                    <a:pt x="305" y="110"/>
                  </a:cubicBezTo>
                  <a:cubicBezTo>
                    <a:pt x="308" y="126"/>
                    <a:pt x="308" y="126"/>
                    <a:pt x="308" y="126"/>
                  </a:cubicBezTo>
                  <a:cubicBezTo>
                    <a:pt x="310" y="134"/>
                    <a:pt x="317" y="139"/>
                    <a:pt x="325" y="138"/>
                  </a:cubicBezTo>
                  <a:cubicBezTo>
                    <a:pt x="333" y="136"/>
                    <a:pt x="339" y="128"/>
                    <a:pt x="337" y="120"/>
                  </a:cubicBezTo>
                  <a:cubicBezTo>
                    <a:pt x="334" y="103"/>
                    <a:pt x="334" y="103"/>
                    <a:pt x="334" y="103"/>
                  </a:cubicBezTo>
                  <a:cubicBezTo>
                    <a:pt x="338" y="101"/>
                    <a:pt x="343" y="100"/>
                    <a:pt x="347" y="99"/>
                  </a:cubicBezTo>
                  <a:cubicBezTo>
                    <a:pt x="354" y="97"/>
                    <a:pt x="357" y="90"/>
                    <a:pt x="355" y="84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48">
              <a:extLst>
                <a:ext uri="{FF2B5EF4-FFF2-40B4-BE49-F238E27FC236}">
                  <a16:creationId xmlns:a16="http://schemas.microsoft.com/office/drawing/2014/main" id="{55D6C0F3-A44A-7A49-94CD-8EB74E4576EE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4141" y="4367405"/>
              <a:ext cx="299746" cy="589751"/>
            </a:xfrm>
            <a:custGeom>
              <a:avLst/>
              <a:gdLst>
                <a:gd name="T0" fmla="*/ 71 w 406"/>
                <a:gd name="T1" fmla="*/ 773 h 798"/>
                <a:gd name="T2" fmla="*/ 25 w 406"/>
                <a:gd name="T3" fmla="*/ 790 h 798"/>
                <a:gd name="T4" fmla="*/ 25 w 406"/>
                <a:gd name="T5" fmla="*/ 790 h 798"/>
                <a:gd name="T6" fmla="*/ 7 w 406"/>
                <a:gd name="T7" fmla="*/ 744 h 798"/>
                <a:gd name="T8" fmla="*/ 335 w 406"/>
                <a:gd name="T9" fmla="*/ 25 h 798"/>
                <a:gd name="T10" fmla="*/ 381 w 406"/>
                <a:gd name="T11" fmla="*/ 8 h 798"/>
                <a:gd name="T12" fmla="*/ 381 w 406"/>
                <a:gd name="T13" fmla="*/ 8 h 798"/>
                <a:gd name="T14" fmla="*/ 398 w 406"/>
                <a:gd name="T15" fmla="*/ 54 h 798"/>
                <a:gd name="T16" fmla="*/ 71 w 406"/>
                <a:gd name="T17" fmla="*/ 773 h 7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6" h="798">
                  <a:moveTo>
                    <a:pt x="71" y="773"/>
                  </a:moveTo>
                  <a:cubicBezTo>
                    <a:pt x="63" y="790"/>
                    <a:pt x="42" y="798"/>
                    <a:pt x="25" y="790"/>
                  </a:cubicBezTo>
                  <a:cubicBezTo>
                    <a:pt x="25" y="790"/>
                    <a:pt x="25" y="790"/>
                    <a:pt x="25" y="790"/>
                  </a:cubicBezTo>
                  <a:cubicBezTo>
                    <a:pt x="7" y="782"/>
                    <a:pt x="0" y="762"/>
                    <a:pt x="7" y="744"/>
                  </a:cubicBezTo>
                  <a:cubicBezTo>
                    <a:pt x="335" y="25"/>
                    <a:pt x="335" y="25"/>
                    <a:pt x="335" y="25"/>
                  </a:cubicBezTo>
                  <a:cubicBezTo>
                    <a:pt x="343" y="7"/>
                    <a:pt x="363" y="0"/>
                    <a:pt x="381" y="8"/>
                  </a:cubicBezTo>
                  <a:cubicBezTo>
                    <a:pt x="381" y="8"/>
                    <a:pt x="381" y="8"/>
                    <a:pt x="381" y="8"/>
                  </a:cubicBezTo>
                  <a:cubicBezTo>
                    <a:pt x="398" y="16"/>
                    <a:pt x="406" y="36"/>
                    <a:pt x="398" y="54"/>
                  </a:cubicBezTo>
                  <a:lnTo>
                    <a:pt x="71" y="773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49">
              <a:extLst>
                <a:ext uri="{FF2B5EF4-FFF2-40B4-BE49-F238E27FC236}">
                  <a16:creationId xmlns:a16="http://schemas.microsoft.com/office/drawing/2014/main" id="{F990A444-8FF1-E44A-A42E-A267AD60E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121431" y="4370403"/>
              <a:ext cx="92921" cy="635462"/>
            </a:xfrm>
            <a:custGeom>
              <a:avLst/>
              <a:gdLst>
                <a:gd name="T0" fmla="*/ 54 w 125"/>
                <a:gd name="T1" fmla="*/ 827 h 860"/>
                <a:gd name="T2" fmla="*/ 91 w 125"/>
                <a:gd name="T3" fmla="*/ 859 h 860"/>
                <a:gd name="T4" fmla="*/ 91 w 125"/>
                <a:gd name="T5" fmla="*/ 859 h 860"/>
                <a:gd name="T6" fmla="*/ 124 w 125"/>
                <a:gd name="T7" fmla="*/ 822 h 860"/>
                <a:gd name="T8" fmla="*/ 71 w 125"/>
                <a:gd name="T9" fmla="*/ 34 h 860"/>
                <a:gd name="T10" fmla="*/ 34 w 125"/>
                <a:gd name="T11" fmla="*/ 1 h 860"/>
                <a:gd name="T12" fmla="*/ 34 w 125"/>
                <a:gd name="T13" fmla="*/ 1 h 860"/>
                <a:gd name="T14" fmla="*/ 1 w 125"/>
                <a:gd name="T15" fmla="*/ 38 h 860"/>
                <a:gd name="T16" fmla="*/ 54 w 125"/>
                <a:gd name="T17" fmla="*/ 827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5" h="860">
                  <a:moveTo>
                    <a:pt x="54" y="827"/>
                  </a:moveTo>
                  <a:cubicBezTo>
                    <a:pt x="56" y="846"/>
                    <a:pt x="72" y="860"/>
                    <a:pt x="91" y="859"/>
                  </a:cubicBezTo>
                  <a:cubicBezTo>
                    <a:pt x="91" y="859"/>
                    <a:pt x="91" y="859"/>
                    <a:pt x="91" y="859"/>
                  </a:cubicBezTo>
                  <a:cubicBezTo>
                    <a:pt x="110" y="858"/>
                    <a:pt x="125" y="841"/>
                    <a:pt x="124" y="822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9" y="15"/>
                    <a:pt x="53" y="0"/>
                    <a:pt x="34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15" y="3"/>
                    <a:pt x="0" y="19"/>
                    <a:pt x="1" y="38"/>
                  </a:cubicBezTo>
                  <a:lnTo>
                    <a:pt x="54" y="827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50">
              <a:extLst>
                <a:ext uri="{FF2B5EF4-FFF2-40B4-BE49-F238E27FC236}">
                  <a16:creationId xmlns:a16="http://schemas.microsoft.com/office/drawing/2014/main" id="{D28C7E33-F1B7-BB40-9193-17A33670117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71973" y="4335183"/>
              <a:ext cx="145377" cy="145377"/>
            </a:xfrm>
            <a:custGeom>
              <a:avLst/>
              <a:gdLst>
                <a:gd name="T0" fmla="*/ 187 w 196"/>
                <a:gd name="T1" fmla="*/ 115 h 197"/>
                <a:gd name="T2" fmla="*/ 82 w 196"/>
                <a:gd name="T3" fmla="*/ 188 h 197"/>
                <a:gd name="T4" fmla="*/ 9 w 196"/>
                <a:gd name="T5" fmla="*/ 83 h 197"/>
                <a:gd name="T6" fmla="*/ 114 w 196"/>
                <a:gd name="T7" fmla="*/ 9 h 197"/>
                <a:gd name="T8" fmla="*/ 187 w 196"/>
                <a:gd name="T9" fmla="*/ 115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6" h="197">
                  <a:moveTo>
                    <a:pt x="187" y="115"/>
                  </a:moveTo>
                  <a:cubicBezTo>
                    <a:pt x="178" y="164"/>
                    <a:pt x="131" y="197"/>
                    <a:pt x="82" y="188"/>
                  </a:cubicBezTo>
                  <a:cubicBezTo>
                    <a:pt x="32" y="179"/>
                    <a:pt x="0" y="132"/>
                    <a:pt x="9" y="83"/>
                  </a:cubicBezTo>
                  <a:cubicBezTo>
                    <a:pt x="18" y="33"/>
                    <a:pt x="65" y="0"/>
                    <a:pt x="114" y="9"/>
                  </a:cubicBezTo>
                  <a:cubicBezTo>
                    <a:pt x="164" y="18"/>
                    <a:pt x="196" y="66"/>
                    <a:pt x="187" y="115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51">
              <a:extLst>
                <a:ext uri="{FF2B5EF4-FFF2-40B4-BE49-F238E27FC236}">
                  <a16:creationId xmlns:a16="http://schemas.microsoft.com/office/drawing/2014/main" id="{2EB98087-3D32-8148-A442-8F26572BA3E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2697" y="4365907"/>
              <a:ext cx="83929" cy="84678"/>
            </a:xfrm>
            <a:custGeom>
              <a:avLst/>
              <a:gdLst>
                <a:gd name="T0" fmla="*/ 109 w 114"/>
                <a:gd name="T1" fmla="*/ 66 h 114"/>
                <a:gd name="T2" fmla="*/ 48 w 114"/>
                <a:gd name="T3" fmla="*/ 109 h 114"/>
                <a:gd name="T4" fmla="*/ 5 w 114"/>
                <a:gd name="T5" fmla="*/ 47 h 114"/>
                <a:gd name="T6" fmla="*/ 66 w 114"/>
                <a:gd name="T7" fmla="*/ 5 h 114"/>
                <a:gd name="T8" fmla="*/ 109 w 114"/>
                <a:gd name="T9" fmla="*/ 6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14">
                  <a:moveTo>
                    <a:pt x="109" y="66"/>
                  </a:moveTo>
                  <a:cubicBezTo>
                    <a:pt x="104" y="95"/>
                    <a:pt x="76" y="114"/>
                    <a:pt x="48" y="109"/>
                  </a:cubicBezTo>
                  <a:cubicBezTo>
                    <a:pt x="19" y="104"/>
                    <a:pt x="0" y="76"/>
                    <a:pt x="5" y="47"/>
                  </a:cubicBezTo>
                  <a:cubicBezTo>
                    <a:pt x="10" y="19"/>
                    <a:pt x="38" y="0"/>
                    <a:pt x="66" y="5"/>
                  </a:cubicBezTo>
                  <a:cubicBezTo>
                    <a:pt x="95" y="10"/>
                    <a:pt x="114" y="38"/>
                    <a:pt x="109" y="66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4" name="Group 31">
            <a:extLst>
              <a:ext uri="{FF2B5EF4-FFF2-40B4-BE49-F238E27FC236}">
                <a16:creationId xmlns:a16="http://schemas.microsoft.com/office/drawing/2014/main" id="{021EFEDA-AE31-5D48-92C0-A340CC2B6A9A}"/>
              </a:ext>
            </a:extLst>
          </p:cNvPr>
          <p:cNvGrpSpPr/>
          <p:nvPr/>
        </p:nvGrpSpPr>
        <p:grpSpPr>
          <a:xfrm>
            <a:off x="570513" y="2604567"/>
            <a:ext cx="630966" cy="762104"/>
            <a:chOff x="8185127" y="5526674"/>
            <a:chExt cx="630966" cy="762104"/>
          </a:xfrm>
        </p:grpSpPr>
        <p:sp>
          <p:nvSpPr>
            <p:cNvPr id="45" name="Freeform 52">
              <a:extLst>
                <a:ext uri="{FF2B5EF4-FFF2-40B4-BE49-F238E27FC236}">
                  <a16:creationId xmlns:a16="http://schemas.microsoft.com/office/drawing/2014/main" id="{DD888BE0-0212-EA48-BE7E-4B806C84D52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85127" y="5759726"/>
              <a:ext cx="630966" cy="529052"/>
            </a:xfrm>
            <a:custGeom>
              <a:avLst/>
              <a:gdLst>
                <a:gd name="T0" fmla="*/ 0 w 854"/>
                <a:gd name="T1" fmla="*/ 0 h 716"/>
                <a:gd name="T2" fmla="*/ 0 w 854"/>
                <a:gd name="T3" fmla="*/ 667 h 716"/>
                <a:gd name="T4" fmla="*/ 49 w 854"/>
                <a:gd name="T5" fmla="*/ 716 h 716"/>
                <a:gd name="T6" fmla="*/ 805 w 854"/>
                <a:gd name="T7" fmla="*/ 716 h 716"/>
                <a:gd name="T8" fmla="*/ 854 w 854"/>
                <a:gd name="T9" fmla="*/ 667 h 716"/>
                <a:gd name="T10" fmla="*/ 854 w 854"/>
                <a:gd name="T11" fmla="*/ 0 h 716"/>
                <a:gd name="T12" fmla="*/ 0 w 854"/>
                <a:gd name="T13" fmla="*/ 0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4" h="716">
                  <a:moveTo>
                    <a:pt x="0" y="0"/>
                  </a:moveTo>
                  <a:cubicBezTo>
                    <a:pt x="0" y="667"/>
                    <a:pt x="0" y="667"/>
                    <a:pt x="0" y="667"/>
                  </a:cubicBezTo>
                  <a:cubicBezTo>
                    <a:pt x="0" y="694"/>
                    <a:pt x="22" y="716"/>
                    <a:pt x="49" y="716"/>
                  </a:cubicBezTo>
                  <a:cubicBezTo>
                    <a:pt x="805" y="716"/>
                    <a:pt x="805" y="716"/>
                    <a:pt x="805" y="716"/>
                  </a:cubicBezTo>
                  <a:cubicBezTo>
                    <a:pt x="832" y="716"/>
                    <a:pt x="854" y="694"/>
                    <a:pt x="854" y="667"/>
                  </a:cubicBezTo>
                  <a:cubicBezTo>
                    <a:pt x="854" y="0"/>
                    <a:pt x="854" y="0"/>
                    <a:pt x="854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53">
              <a:extLst>
                <a:ext uri="{FF2B5EF4-FFF2-40B4-BE49-F238E27FC236}">
                  <a16:creationId xmlns:a16="http://schemas.microsoft.com/office/drawing/2014/main" id="{FE697EFB-B3D0-8541-A418-253A26ECCAA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85127" y="5526674"/>
              <a:ext cx="630966" cy="233053"/>
            </a:xfrm>
            <a:custGeom>
              <a:avLst/>
              <a:gdLst>
                <a:gd name="T0" fmla="*/ 854 w 854"/>
                <a:gd name="T1" fmla="*/ 49 h 316"/>
                <a:gd name="T2" fmla="*/ 805 w 854"/>
                <a:gd name="T3" fmla="*/ 0 h 316"/>
                <a:gd name="T4" fmla="*/ 49 w 854"/>
                <a:gd name="T5" fmla="*/ 0 h 316"/>
                <a:gd name="T6" fmla="*/ 0 w 854"/>
                <a:gd name="T7" fmla="*/ 49 h 316"/>
                <a:gd name="T8" fmla="*/ 0 w 854"/>
                <a:gd name="T9" fmla="*/ 316 h 316"/>
                <a:gd name="T10" fmla="*/ 854 w 854"/>
                <a:gd name="T11" fmla="*/ 316 h 316"/>
                <a:gd name="T12" fmla="*/ 854 w 854"/>
                <a:gd name="T13" fmla="*/ 49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4" h="316">
                  <a:moveTo>
                    <a:pt x="854" y="49"/>
                  </a:moveTo>
                  <a:cubicBezTo>
                    <a:pt x="854" y="22"/>
                    <a:pt x="832" y="0"/>
                    <a:pt x="805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22" y="0"/>
                    <a:pt x="0" y="22"/>
                    <a:pt x="0" y="49"/>
                  </a:cubicBezTo>
                  <a:cubicBezTo>
                    <a:pt x="0" y="316"/>
                    <a:pt x="0" y="316"/>
                    <a:pt x="0" y="316"/>
                  </a:cubicBezTo>
                  <a:cubicBezTo>
                    <a:pt x="854" y="316"/>
                    <a:pt x="854" y="316"/>
                    <a:pt x="854" y="316"/>
                  </a:cubicBezTo>
                  <a:lnTo>
                    <a:pt x="854" y="4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54">
              <a:extLst>
                <a:ext uri="{FF2B5EF4-FFF2-40B4-BE49-F238E27FC236}">
                  <a16:creationId xmlns:a16="http://schemas.microsoft.com/office/drawing/2014/main" id="{07F70CAE-4B54-BD4E-AE75-461B784C3BE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9603" y="5809934"/>
              <a:ext cx="223311" cy="204577"/>
            </a:xfrm>
            <a:custGeom>
              <a:avLst/>
              <a:gdLst>
                <a:gd name="T0" fmla="*/ 302 w 302"/>
                <a:gd name="T1" fmla="*/ 277 h 277"/>
                <a:gd name="T2" fmla="*/ 302 w 302"/>
                <a:gd name="T3" fmla="*/ 45 h 277"/>
                <a:gd name="T4" fmla="*/ 253 w 302"/>
                <a:gd name="T5" fmla="*/ 0 h 277"/>
                <a:gd name="T6" fmla="*/ 0 w 302"/>
                <a:gd name="T7" fmla="*/ 0 h 277"/>
                <a:gd name="T8" fmla="*/ 0 w 302"/>
                <a:gd name="T9" fmla="*/ 277 h 277"/>
                <a:gd name="T10" fmla="*/ 302 w 302"/>
                <a:gd name="T11" fmla="*/ 27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277">
                  <a:moveTo>
                    <a:pt x="302" y="277"/>
                  </a:moveTo>
                  <a:cubicBezTo>
                    <a:pt x="302" y="45"/>
                    <a:pt x="302" y="45"/>
                    <a:pt x="302" y="45"/>
                  </a:cubicBezTo>
                  <a:cubicBezTo>
                    <a:pt x="302" y="20"/>
                    <a:pt x="280" y="0"/>
                    <a:pt x="25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77"/>
                    <a:pt x="0" y="277"/>
                    <a:pt x="0" y="277"/>
                  </a:cubicBezTo>
                  <a:lnTo>
                    <a:pt x="302" y="277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55">
              <a:extLst>
                <a:ext uri="{FF2B5EF4-FFF2-40B4-BE49-F238E27FC236}">
                  <a16:creationId xmlns:a16="http://schemas.microsoft.com/office/drawing/2014/main" id="{B84CDD34-03E5-2C48-A064-9DA44459174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056" y="6032496"/>
              <a:ext cx="222562" cy="204577"/>
            </a:xfrm>
            <a:custGeom>
              <a:avLst/>
              <a:gdLst>
                <a:gd name="T0" fmla="*/ 0 w 302"/>
                <a:gd name="T1" fmla="*/ 0 h 277"/>
                <a:gd name="T2" fmla="*/ 0 w 302"/>
                <a:gd name="T3" fmla="*/ 233 h 277"/>
                <a:gd name="T4" fmla="*/ 49 w 302"/>
                <a:gd name="T5" fmla="*/ 277 h 277"/>
                <a:gd name="T6" fmla="*/ 302 w 302"/>
                <a:gd name="T7" fmla="*/ 277 h 277"/>
                <a:gd name="T8" fmla="*/ 302 w 302"/>
                <a:gd name="T9" fmla="*/ 0 h 277"/>
                <a:gd name="T10" fmla="*/ 0 w 302"/>
                <a:gd name="T11" fmla="*/ 0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277">
                  <a:moveTo>
                    <a:pt x="0" y="0"/>
                  </a:moveTo>
                  <a:cubicBezTo>
                    <a:pt x="0" y="233"/>
                    <a:pt x="0" y="233"/>
                    <a:pt x="0" y="233"/>
                  </a:cubicBezTo>
                  <a:cubicBezTo>
                    <a:pt x="0" y="257"/>
                    <a:pt x="22" y="277"/>
                    <a:pt x="49" y="277"/>
                  </a:cubicBezTo>
                  <a:cubicBezTo>
                    <a:pt x="302" y="277"/>
                    <a:pt x="302" y="277"/>
                    <a:pt x="302" y="277"/>
                  </a:cubicBezTo>
                  <a:cubicBezTo>
                    <a:pt x="302" y="0"/>
                    <a:pt x="302" y="0"/>
                    <a:pt x="30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56">
              <a:extLst>
                <a:ext uri="{FF2B5EF4-FFF2-40B4-BE49-F238E27FC236}">
                  <a16:creationId xmlns:a16="http://schemas.microsoft.com/office/drawing/2014/main" id="{BC1D0CD3-789C-634C-B565-239A9DB4F6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1588" y="5579129"/>
              <a:ext cx="538044" cy="113154"/>
            </a:xfrm>
            <a:custGeom>
              <a:avLst/>
              <a:gdLst>
                <a:gd name="T0" fmla="*/ 12 w 728"/>
                <a:gd name="T1" fmla="*/ 92 h 154"/>
                <a:gd name="T2" fmla="*/ 56 w 728"/>
                <a:gd name="T3" fmla="*/ 37 h 154"/>
                <a:gd name="T4" fmla="*/ 697 w 728"/>
                <a:gd name="T5" fmla="*/ 37 h 154"/>
                <a:gd name="T6" fmla="*/ 728 w 728"/>
                <a:gd name="T7" fmla="*/ 54 h 154"/>
                <a:gd name="T8" fmla="*/ 685 w 728"/>
                <a:gd name="T9" fmla="*/ 0 h 154"/>
                <a:gd name="T10" fmla="*/ 43 w 728"/>
                <a:gd name="T11" fmla="*/ 0 h 154"/>
                <a:gd name="T12" fmla="*/ 0 w 728"/>
                <a:gd name="T13" fmla="*/ 55 h 154"/>
                <a:gd name="T14" fmla="*/ 0 w 728"/>
                <a:gd name="T15" fmla="*/ 116 h 154"/>
                <a:gd name="T16" fmla="*/ 12 w 728"/>
                <a:gd name="T17" fmla="*/ 154 h 154"/>
                <a:gd name="T18" fmla="*/ 12 w 728"/>
                <a:gd name="T19" fmla="*/ 153 h 154"/>
                <a:gd name="T20" fmla="*/ 12 w 728"/>
                <a:gd name="T21" fmla="*/ 92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28" h="154">
                  <a:moveTo>
                    <a:pt x="12" y="92"/>
                  </a:moveTo>
                  <a:cubicBezTo>
                    <a:pt x="12" y="62"/>
                    <a:pt x="32" y="37"/>
                    <a:pt x="56" y="37"/>
                  </a:cubicBezTo>
                  <a:cubicBezTo>
                    <a:pt x="697" y="37"/>
                    <a:pt x="697" y="37"/>
                    <a:pt x="697" y="37"/>
                  </a:cubicBezTo>
                  <a:cubicBezTo>
                    <a:pt x="709" y="37"/>
                    <a:pt x="721" y="43"/>
                    <a:pt x="728" y="54"/>
                  </a:cubicBezTo>
                  <a:cubicBezTo>
                    <a:pt x="728" y="24"/>
                    <a:pt x="708" y="0"/>
                    <a:pt x="685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19" y="0"/>
                    <a:pt x="0" y="25"/>
                    <a:pt x="0" y="55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31"/>
                    <a:pt x="4" y="145"/>
                    <a:pt x="12" y="154"/>
                  </a:cubicBezTo>
                  <a:cubicBezTo>
                    <a:pt x="12" y="154"/>
                    <a:pt x="12" y="153"/>
                    <a:pt x="12" y="153"/>
                  </a:cubicBezTo>
                  <a:lnTo>
                    <a:pt x="12" y="92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57">
              <a:extLst>
                <a:ext uri="{FF2B5EF4-FFF2-40B4-BE49-F238E27FC236}">
                  <a16:creationId xmlns:a16="http://schemas.microsoft.com/office/drawing/2014/main" id="{882BD2AC-0A9E-0D41-B6B5-F41237427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0580" y="5606107"/>
              <a:ext cx="529801" cy="98916"/>
            </a:xfrm>
            <a:custGeom>
              <a:avLst/>
              <a:gdLst>
                <a:gd name="T0" fmla="*/ 31 w 717"/>
                <a:gd name="T1" fmla="*/ 134 h 134"/>
                <a:gd name="T2" fmla="*/ 673 w 717"/>
                <a:gd name="T3" fmla="*/ 134 h 134"/>
                <a:gd name="T4" fmla="*/ 717 w 717"/>
                <a:gd name="T5" fmla="*/ 79 h 134"/>
                <a:gd name="T6" fmla="*/ 717 w 717"/>
                <a:gd name="T7" fmla="*/ 18 h 134"/>
                <a:gd name="T8" fmla="*/ 716 w 717"/>
                <a:gd name="T9" fmla="*/ 17 h 134"/>
                <a:gd name="T10" fmla="*/ 685 w 717"/>
                <a:gd name="T11" fmla="*/ 0 h 134"/>
                <a:gd name="T12" fmla="*/ 44 w 717"/>
                <a:gd name="T13" fmla="*/ 0 h 134"/>
                <a:gd name="T14" fmla="*/ 0 w 717"/>
                <a:gd name="T15" fmla="*/ 55 h 134"/>
                <a:gd name="T16" fmla="*/ 0 w 717"/>
                <a:gd name="T17" fmla="*/ 116 h 134"/>
                <a:gd name="T18" fmla="*/ 0 w 717"/>
                <a:gd name="T19" fmla="*/ 117 h 134"/>
                <a:gd name="T20" fmla="*/ 31 w 717"/>
                <a:gd name="T21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17" h="134">
                  <a:moveTo>
                    <a:pt x="31" y="134"/>
                  </a:moveTo>
                  <a:cubicBezTo>
                    <a:pt x="673" y="134"/>
                    <a:pt x="673" y="134"/>
                    <a:pt x="673" y="134"/>
                  </a:cubicBezTo>
                  <a:cubicBezTo>
                    <a:pt x="697" y="134"/>
                    <a:pt x="717" y="110"/>
                    <a:pt x="717" y="79"/>
                  </a:cubicBezTo>
                  <a:cubicBezTo>
                    <a:pt x="717" y="18"/>
                    <a:pt x="717" y="18"/>
                    <a:pt x="717" y="18"/>
                  </a:cubicBezTo>
                  <a:cubicBezTo>
                    <a:pt x="717" y="18"/>
                    <a:pt x="716" y="17"/>
                    <a:pt x="716" y="17"/>
                  </a:cubicBezTo>
                  <a:cubicBezTo>
                    <a:pt x="709" y="6"/>
                    <a:pt x="697" y="0"/>
                    <a:pt x="685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20" y="0"/>
                    <a:pt x="0" y="25"/>
                    <a:pt x="0" y="55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16"/>
                    <a:pt x="0" y="117"/>
                    <a:pt x="0" y="117"/>
                  </a:cubicBezTo>
                  <a:cubicBezTo>
                    <a:pt x="8" y="128"/>
                    <a:pt x="19" y="134"/>
                    <a:pt x="31" y="134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58">
              <a:extLst>
                <a:ext uri="{FF2B5EF4-FFF2-40B4-BE49-F238E27FC236}">
                  <a16:creationId xmlns:a16="http://schemas.microsoft.com/office/drawing/2014/main" id="{94153AA9-75EF-8C47-A34B-E8570F393EA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056" y="5809934"/>
              <a:ext cx="222562" cy="204577"/>
            </a:xfrm>
            <a:custGeom>
              <a:avLst/>
              <a:gdLst>
                <a:gd name="T0" fmla="*/ 302 w 302"/>
                <a:gd name="T1" fmla="*/ 0 h 277"/>
                <a:gd name="T2" fmla="*/ 49 w 302"/>
                <a:gd name="T3" fmla="*/ 0 h 277"/>
                <a:gd name="T4" fmla="*/ 0 w 302"/>
                <a:gd name="T5" fmla="*/ 45 h 277"/>
                <a:gd name="T6" fmla="*/ 0 w 302"/>
                <a:gd name="T7" fmla="*/ 277 h 277"/>
                <a:gd name="T8" fmla="*/ 302 w 302"/>
                <a:gd name="T9" fmla="*/ 277 h 277"/>
                <a:gd name="T10" fmla="*/ 302 w 302"/>
                <a:gd name="T11" fmla="*/ 0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277">
                  <a:moveTo>
                    <a:pt x="302" y="0"/>
                  </a:moveTo>
                  <a:cubicBezTo>
                    <a:pt x="49" y="0"/>
                    <a:pt x="49" y="0"/>
                    <a:pt x="49" y="0"/>
                  </a:cubicBezTo>
                  <a:cubicBezTo>
                    <a:pt x="22" y="0"/>
                    <a:pt x="0" y="20"/>
                    <a:pt x="0" y="45"/>
                  </a:cubicBezTo>
                  <a:cubicBezTo>
                    <a:pt x="0" y="277"/>
                    <a:pt x="0" y="277"/>
                    <a:pt x="0" y="277"/>
                  </a:cubicBezTo>
                  <a:cubicBezTo>
                    <a:pt x="302" y="277"/>
                    <a:pt x="302" y="277"/>
                    <a:pt x="302" y="277"/>
                  </a:cubicBezTo>
                  <a:lnTo>
                    <a:pt x="302" y="0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59">
              <a:extLst>
                <a:ext uri="{FF2B5EF4-FFF2-40B4-BE49-F238E27FC236}">
                  <a16:creationId xmlns:a16="http://schemas.microsoft.com/office/drawing/2014/main" id="{E823BE03-A6C4-3947-A45F-888541FBC5C2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6266" y="5845904"/>
              <a:ext cx="127392" cy="132638"/>
            </a:xfrm>
            <a:custGeom>
              <a:avLst/>
              <a:gdLst>
                <a:gd name="T0" fmla="*/ 101 w 170"/>
                <a:gd name="T1" fmla="*/ 0 h 177"/>
                <a:gd name="T2" fmla="*/ 101 w 170"/>
                <a:gd name="T3" fmla="*/ 72 h 177"/>
                <a:gd name="T4" fmla="*/ 170 w 170"/>
                <a:gd name="T5" fmla="*/ 72 h 177"/>
                <a:gd name="T6" fmla="*/ 170 w 170"/>
                <a:gd name="T7" fmla="*/ 104 h 177"/>
                <a:gd name="T8" fmla="*/ 101 w 170"/>
                <a:gd name="T9" fmla="*/ 104 h 177"/>
                <a:gd name="T10" fmla="*/ 101 w 170"/>
                <a:gd name="T11" fmla="*/ 177 h 177"/>
                <a:gd name="T12" fmla="*/ 69 w 170"/>
                <a:gd name="T13" fmla="*/ 177 h 177"/>
                <a:gd name="T14" fmla="*/ 69 w 170"/>
                <a:gd name="T15" fmla="*/ 104 h 177"/>
                <a:gd name="T16" fmla="*/ 0 w 170"/>
                <a:gd name="T17" fmla="*/ 104 h 177"/>
                <a:gd name="T18" fmla="*/ 0 w 170"/>
                <a:gd name="T19" fmla="*/ 72 h 177"/>
                <a:gd name="T20" fmla="*/ 69 w 170"/>
                <a:gd name="T21" fmla="*/ 72 h 177"/>
                <a:gd name="T22" fmla="*/ 69 w 170"/>
                <a:gd name="T23" fmla="*/ 0 h 177"/>
                <a:gd name="T24" fmla="*/ 101 w 170"/>
                <a:gd name="T25" fmla="*/ 0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0" h="177">
                  <a:moveTo>
                    <a:pt x="101" y="0"/>
                  </a:moveTo>
                  <a:lnTo>
                    <a:pt x="101" y="72"/>
                  </a:lnTo>
                  <a:lnTo>
                    <a:pt x="170" y="72"/>
                  </a:lnTo>
                  <a:lnTo>
                    <a:pt x="170" y="104"/>
                  </a:lnTo>
                  <a:lnTo>
                    <a:pt x="101" y="104"/>
                  </a:lnTo>
                  <a:lnTo>
                    <a:pt x="101" y="177"/>
                  </a:lnTo>
                  <a:lnTo>
                    <a:pt x="69" y="177"/>
                  </a:lnTo>
                  <a:lnTo>
                    <a:pt x="69" y="104"/>
                  </a:lnTo>
                  <a:lnTo>
                    <a:pt x="0" y="104"/>
                  </a:lnTo>
                  <a:lnTo>
                    <a:pt x="0" y="72"/>
                  </a:lnTo>
                  <a:lnTo>
                    <a:pt x="69" y="72"/>
                  </a:lnTo>
                  <a:lnTo>
                    <a:pt x="69" y="0"/>
                  </a:lnTo>
                  <a:lnTo>
                    <a:pt x="10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Rectangle 60">
              <a:extLst>
                <a:ext uri="{FF2B5EF4-FFF2-40B4-BE49-F238E27FC236}">
                  <a16:creationId xmlns:a16="http://schemas.microsoft.com/office/drawing/2014/main" id="{E80EADD2-EA87-6447-BCAD-509E90F38A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77795" y="5899858"/>
              <a:ext cx="86926" cy="2547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61">
              <a:extLst>
                <a:ext uri="{FF2B5EF4-FFF2-40B4-BE49-F238E27FC236}">
                  <a16:creationId xmlns:a16="http://schemas.microsoft.com/office/drawing/2014/main" id="{FB71C517-7C5E-FD4A-B603-74DE1A95FA6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25259" y="6079706"/>
              <a:ext cx="110157" cy="110906"/>
            </a:xfrm>
            <a:custGeom>
              <a:avLst/>
              <a:gdLst>
                <a:gd name="T0" fmla="*/ 147 w 147"/>
                <a:gd name="T1" fmla="*/ 22 h 148"/>
                <a:gd name="T2" fmla="*/ 96 w 147"/>
                <a:gd name="T3" fmla="*/ 74 h 148"/>
                <a:gd name="T4" fmla="*/ 145 w 147"/>
                <a:gd name="T5" fmla="*/ 123 h 148"/>
                <a:gd name="T6" fmla="*/ 123 w 147"/>
                <a:gd name="T7" fmla="*/ 145 h 148"/>
                <a:gd name="T8" fmla="*/ 74 w 147"/>
                <a:gd name="T9" fmla="*/ 95 h 148"/>
                <a:gd name="T10" fmla="*/ 22 w 147"/>
                <a:gd name="T11" fmla="*/ 148 h 148"/>
                <a:gd name="T12" fmla="*/ 0 w 147"/>
                <a:gd name="T13" fmla="*/ 124 h 148"/>
                <a:gd name="T14" fmla="*/ 51 w 147"/>
                <a:gd name="T15" fmla="*/ 73 h 148"/>
                <a:gd name="T16" fmla="*/ 3 w 147"/>
                <a:gd name="T17" fmla="*/ 23 h 148"/>
                <a:gd name="T18" fmla="*/ 24 w 147"/>
                <a:gd name="T19" fmla="*/ 2 h 148"/>
                <a:gd name="T20" fmla="*/ 73 w 147"/>
                <a:gd name="T21" fmla="*/ 51 h 148"/>
                <a:gd name="T22" fmla="*/ 124 w 147"/>
                <a:gd name="T23" fmla="*/ 0 h 148"/>
                <a:gd name="T24" fmla="*/ 147 w 147"/>
                <a:gd name="T25" fmla="*/ 22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7" h="148">
                  <a:moveTo>
                    <a:pt x="147" y="22"/>
                  </a:moveTo>
                  <a:lnTo>
                    <a:pt x="96" y="74"/>
                  </a:lnTo>
                  <a:lnTo>
                    <a:pt x="145" y="123"/>
                  </a:lnTo>
                  <a:lnTo>
                    <a:pt x="123" y="145"/>
                  </a:lnTo>
                  <a:lnTo>
                    <a:pt x="74" y="95"/>
                  </a:lnTo>
                  <a:lnTo>
                    <a:pt x="22" y="148"/>
                  </a:lnTo>
                  <a:lnTo>
                    <a:pt x="0" y="124"/>
                  </a:lnTo>
                  <a:lnTo>
                    <a:pt x="51" y="73"/>
                  </a:lnTo>
                  <a:lnTo>
                    <a:pt x="3" y="23"/>
                  </a:lnTo>
                  <a:lnTo>
                    <a:pt x="24" y="2"/>
                  </a:lnTo>
                  <a:lnTo>
                    <a:pt x="73" y="51"/>
                  </a:lnTo>
                  <a:lnTo>
                    <a:pt x="124" y="0"/>
                  </a:lnTo>
                  <a:lnTo>
                    <a:pt x="147" y="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62">
              <a:extLst>
                <a:ext uri="{FF2B5EF4-FFF2-40B4-BE49-F238E27FC236}">
                  <a16:creationId xmlns:a16="http://schemas.microsoft.com/office/drawing/2014/main" id="{90708EBC-A86D-084B-AF32-55DA8A27D1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9603" y="6032496"/>
              <a:ext cx="223311" cy="204577"/>
            </a:xfrm>
            <a:custGeom>
              <a:avLst/>
              <a:gdLst>
                <a:gd name="T0" fmla="*/ 0 w 302"/>
                <a:gd name="T1" fmla="*/ 0 h 277"/>
                <a:gd name="T2" fmla="*/ 0 w 302"/>
                <a:gd name="T3" fmla="*/ 277 h 277"/>
                <a:gd name="T4" fmla="*/ 253 w 302"/>
                <a:gd name="T5" fmla="*/ 277 h 277"/>
                <a:gd name="T6" fmla="*/ 302 w 302"/>
                <a:gd name="T7" fmla="*/ 233 h 277"/>
                <a:gd name="T8" fmla="*/ 302 w 302"/>
                <a:gd name="T9" fmla="*/ 0 h 277"/>
                <a:gd name="T10" fmla="*/ 0 w 302"/>
                <a:gd name="T11" fmla="*/ 0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277">
                  <a:moveTo>
                    <a:pt x="0" y="0"/>
                  </a:moveTo>
                  <a:cubicBezTo>
                    <a:pt x="0" y="277"/>
                    <a:pt x="0" y="277"/>
                    <a:pt x="0" y="277"/>
                  </a:cubicBezTo>
                  <a:cubicBezTo>
                    <a:pt x="253" y="277"/>
                    <a:pt x="253" y="277"/>
                    <a:pt x="253" y="277"/>
                  </a:cubicBezTo>
                  <a:cubicBezTo>
                    <a:pt x="280" y="277"/>
                    <a:pt x="302" y="257"/>
                    <a:pt x="302" y="233"/>
                  </a:cubicBezTo>
                  <a:cubicBezTo>
                    <a:pt x="302" y="0"/>
                    <a:pt x="302" y="0"/>
                    <a:pt x="30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63">
              <a:extLst>
                <a:ext uri="{FF2B5EF4-FFF2-40B4-BE49-F238E27FC236}">
                  <a16:creationId xmlns:a16="http://schemas.microsoft.com/office/drawing/2014/main" id="{EF4A5C66-1518-7D47-9A36-565BD3F7D2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57562" y="6097690"/>
              <a:ext cx="128142" cy="74187"/>
            </a:xfrm>
            <a:custGeom>
              <a:avLst/>
              <a:gdLst>
                <a:gd name="T0" fmla="*/ 0 w 171"/>
                <a:gd name="T1" fmla="*/ 31 h 99"/>
                <a:gd name="T2" fmla="*/ 0 w 171"/>
                <a:gd name="T3" fmla="*/ 0 h 99"/>
                <a:gd name="T4" fmla="*/ 171 w 171"/>
                <a:gd name="T5" fmla="*/ 0 h 99"/>
                <a:gd name="T6" fmla="*/ 171 w 171"/>
                <a:gd name="T7" fmla="*/ 31 h 99"/>
                <a:gd name="T8" fmla="*/ 0 w 171"/>
                <a:gd name="T9" fmla="*/ 31 h 99"/>
                <a:gd name="T10" fmla="*/ 0 w 171"/>
                <a:gd name="T11" fmla="*/ 99 h 99"/>
                <a:gd name="T12" fmla="*/ 0 w 171"/>
                <a:gd name="T13" fmla="*/ 68 h 99"/>
                <a:gd name="T14" fmla="*/ 171 w 171"/>
                <a:gd name="T15" fmla="*/ 68 h 99"/>
                <a:gd name="T16" fmla="*/ 171 w 171"/>
                <a:gd name="T17" fmla="*/ 99 h 99"/>
                <a:gd name="T18" fmla="*/ 0 w 171"/>
                <a:gd name="T19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1" h="99">
                  <a:moveTo>
                    <a:pt x="0" y="31"/>
                  </a:moveTo>
                  <a:lnTo>
                    <a:pt x="0" y="0"/>
                  </a:lnTo>
                  <a:lnTo>
                    <a:pt x="171" y="0"/>
                  </a:lnTo>
                  <a:lnTo>
                    <a:pt x="171" y="31"/>
                  </a:lnTo>
                  <a:lnTo>
                    <a:pt x="0" y="31"/>
                  </a:lnTo>
                  <a:close/>
                  <a:moveTo>
                    <a:pt x="0" y="99"/>
                  </a:moveTo>
                  <a:lnTo>
                    <a:pt x="0" y="68"/>
                  </a:lnTo>
                  <a:lnTo>
                    <a:pt x="171" y="68"/>
                  </a:lnTo>
                  <a:lnTo>
                    <a:pt x="171" y="99"/>
                  </a:lnTo>
                  <a:lnTo>
                    <a:pt x="0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7" name="Group 44">
            <a:extLst>
              <a:ext uri="{FF2B5EF4-FFF2-40B4-BE49-F238E27FC236}">
                <a16:creationId xmlns:a16="http://schemas.microsoft.com/office/drawing/2014/main" id="{F099336D-B971-E741-A333-A4C74B190141}"/>
              </a:ext>
            </a:extLst>
          </p:cNvPr>
          <p:cNvGrpSpPr/>
          <p:nvPr/>
        </p:nvGrpSpPr>
        <p:grpSpPr>
          <a:xfrm>
            <a:off x="394021" y="5402012"/>
            <a:ext cx="514065" cy="861021"/>
            <a:chOff x="3664954" y="4368155"/>
            <a:chExt cx="514065" cy="861021"/>
          </a:xfrm>
        </p:grpSpPr>
        <p:sp>
          <p:nvSpPr>
            <p:cNvPr id="58" name="Oval 64">
              <a:extLst>
                <a:ext uri="{FF2B5EF4-FFF2-40B4-BE49-F238E27FC236}">
                  <a16:creationId xmlns:a16="http://schemas.microsoft.com/office/drawing/2014/main" id="{B7A4D7F4-08BF-4F40-838E-AB3C413FC8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87516" y="5134756"/>
              <a:ext cx="68942" cy="79433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66">
              <a:extLst>
                <a:ext uri="{FF2B5EF4-FFF2-40B4-BE49-F238E27FC236}">
                  <a16:creationId xmlns:a16="http://schemas.microsoft.com/office/drawing/2014/main" id="{F61E731C-C37B-6040-9565-937034D6B9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74777" y="5125014"/>
              <a:ext cx="93671" cy="94420"/>
            </a:xfrm>
            <a:custGeom>
              <a:avLst/>
              <a:gdLst>
                <a:gd name="T0" fmla="*/ 64 w 127"/>
                <a:gd name="T1" fmla="*/ 128 h 128"/>
                <a:gd name="T2" fmla="*/ 0 w 127"/>
                <a:gd name="T3" fmla="*/ 64 h 128"/>
                <a:gd name="T4" fmla="*/ 64 w 127"/>
                <a:gd name="T5" fmla="*/ 0 h 128"/>
                <a:gd name="T6" fmla="*/ 127 w 127"/>
                <a:gd name="T7" fmla="*/ 64 h 128"/>
                <a:gd name="T8" fmla="*/ 64 w 127"/>
                <a:gd name="T9" fmla="*/ 128 h 128"/>
                <a:gd name="T10" fmla="*/ 64 w 127"/>
                <a:gd name="T11" fmla="*/ 26 h 128"/>
                <a:gd name="T12" fmla="*/ 26 w 127"/>
                <a:gd name="T13" fmla="*/ 64 h 128"/>
                <a:gd name="T14" fmla="*/ 64 w 127"/>
                <a:gd name="T15" fmla="*/ 102 h 128"/>
                <a:gd name="T16" fmla="*/ 102 w 127"/>
                <a:gd name="T17" fmla="*/ 64 h 128"/>
                <a:gd name="T18" fmla="*/ 64 w 127"/>
                <a:gd name="T19" fmla="*/ 2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28">
                  <a:moveTo>
                    <a:pt x="64" y="128"/>
                  </a:moveTo>
                  <a:cubicBezTo>
                    <a:pt x="29" y="128"/>
                    <a:pt x="0" y="99"/>
                    <a:pt x="0" y="64"/>
                  </a:cubicBezTo>
                  <a:cubicBezTo>
                    <a:pt x="0" y="29"/>
                    <a:pt x="29" y="0"/>
                    <a:pt x="64" y="0"/>
                  </a:cubicBezTo>
                  <a:cubicBezTo>
                    <a:pt x="99" y="0"/>
                    <a:pt x="127" y="29"/>
                    <a:pt x="127" y="64"/>
                  </a:cubicBezTo>
                  <a:cubicBezTo>
                    <a:pt x="127" y="99"/>
                    <a:pt x="99" y="128"/>
                    <a:pt x="64" y="128"/>
                  </a:cubicBezTo>
                  <a:close/>
                  <a:moveTo>
                    <a:pt x="64" y="26"/>
                  </a:moveTo>
                  <a:cubicBezTo>
                    <a:pt x="43" y="26"/>
                    <a:pt x="26" y="43"/>
                    <a:pt x="26" y="64"/>
                  </a:cubicBezTo>
                  <a:cubicBezTo>
                    <a:pt x="26" y="85"/>
                    <a:pt x="43" y="102"/>
                    <a:pt x="64" y="102"/>
                  </a:cubicBezTo>
                  <a:cubicBezTo>
                    <a:pt x="85" y="102"/>
                    <a:pt x="102" y="85"/>
                    <a:pt x="102" y="64"/>
                  </a:cubicBezTo>
                  <a:cubicBezTo>
                    <a:pt x="102" y="43"/>
                    <a:pt x="85" y="26"/>
                    <a:pt x="64" y="26"/>
                  </a:cubicBezTo>
                  <a:close/>
                </a:path>
              </a:pathLst>
            </a:custGeom>
            <a:solidFill>
              <a:srgbClr val="0A2E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67">
              <a:extLst>
                <a:ext uri="{FF2B5EF4-FFF2-40B4-BE49-F238E27FC236}">
                  <a16:creationId xmlns:a16="http://schemas.microsoft.com/office/drawing/2014/main" id="{D15BFCBD-87E3-A44D-B9DB-0C0C78ACDB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64954" y="4368155"/>
              <a:ext cx="514065" cy="861021"/>
            </a:xfrm>
            <a:custGeom>
              <a:avLst/>
              <a:gdLst>
                <a:gd name="T0" fmla="*/ 615 w 696"/>
                <a:gd name="T1" fmla="*/ 0 h 1165"/>
                <a:gd name="T2" fmla="*/ 81 w 696"/>
                <a:gd name="T3" fmla="*/ 0 h 1165"/>
                <a:gd name="T4" fmla="*/ 0 w 696"/>
                <a:gd name="T5" fmla="*/ 82 h 1165"/>
                <a:gd name="T6" fmla="*/ 0 w 696"/>
                <a:gd name="T7" fmla="*/ 1083 h 1165"/>
                <a:gd name="T8" fmla="*/ 81 w 696"/>
                <a:gd name="T9" fmla="*/ 1165 h 1165"/>
                <a:gd name="T10" fmla="*/ 615 w 696"/>
                <a:gd name="T11" fmla="*/ 1165 h 1165"/>
                <a:gd name="T12" fmla="*/ 696 w 696"/>
                <a:gd name="T13" fmla="*/ 1083 h 1165"/>
                <a:gd name="T14" fmla="*/ 696 w 696"/>
                <a:gd name="T15" fmla="*/ 82 h 1165"/>
                <a:gd name="T16" fmla="*/ 615 w 696"/>
                <a:gd name="T17" fmla="*/ 0 h 1165"/>
                <a:gd name="T18" fmla="*/ 205 w 696"/>
                <a:gd name="T19" fmla="*/ 46 h 1165"/>
                <a:gd name="T20" fmla="*/ 491 w 696"/>
                <a:gd name="T21" fmla="*/ 46 h 1165"/>
                <a:gd name="T22" fmla="*/ 510 w 696"/>
                <a:gd name="T23" fmla="*/ 65 h 1165"/>
                <a:gd name="T24" fmla="*/ 491 w 696"/>
                <a:gd name="T25" fmla="*/ 84 h 1165"/>
                <a:gd name="T26" fmla="*/ 205 w 696"/>
                <a:gd name="T27" fmla="*/ 84 h 1165"/>
                <a:gd name="T28" fmla="*/ 186 w 696"/>
                <a:gd name="T29" fmla="*/ 65 h 1165"/>
                <a:gd name="T30" fmla="*/ 205 w 696"/>
                <a:gd name="T31" fmla="*/ 46 h 1165"/>
                <a:gd name="T32" fmla="*/ 265 w 696"/>
                <a:gd name="T33" fmla="*/ 1107 h 1165"/>
                <a:gd name="T34" fmla="*/ 246 w 696"/>
                <a:gd name="T35" fmla="*/ 1088 h 1165"/>
                <a:gd name="T36" fmla="*/ 265 w 696"/>
                <a:gd name="T37" fmla="*/ 1069 h 1165"/>
                <a:gd name="T38" fmla="*/ 284 w 696"/>
                <a:gd name="T39" fmla="*/ 1088 h 1165"/>
                <a:gd name="T40" fmla="*/ 265 w 696"/>
                <a:gd name="T41" fmla="*/ 1107 h 1165"/>
                <a:gd name="T42" fmla="*/ 348 w 696"/>
                <a:gd name="T43" fmla="*/ 1136 h 1165"/>
                <a:gd name="T44" fmla="*/ 301 w 696"/>
                <a:gd name="T45" fmla="*/ 1088 h 1165"/>
                <a:gd name="T46" fmla="*/ 348 w 696"/>
                <a:gd name="T47" fmla="*/ 1041 h 1165"/>
                <a:gd name="T48" fmla="*/ 395 w 696"/>
                <a:gd name="T49" fmla="*/ 1088 h 1165"/>
                <a:gd name="T50" fmla="*/ 348 w 696"/>
                <a:gd name="T51" fmla="*/ 1136 h 1165"/>
                <a:gd name="T52" fmla="*/ 431 w 696"/>
                <a:gd name="T53" fmla="*/ 1107 h 1165"/>
                <a:gd name="T54" fmla="*/ 412 w 696"/>
                <a:gd name="T55" fmla="*/ 1088 h 1165"/>
                <a:gd name="T56" fmla="*/ 431 w 696"/>
                <a:gd name="T57" fmla="*/ 1069 h 1165"/>
                <a:gd name="T58" fmla="*/ 449 w 696"/>
                <a:gd name="T59" fmla="*/ 1088 h 1165"/>
                <a:gd name="T60" fmla="*/ 431 w 696"/>
                <a:gd name="T61" fmla="*/ 1107 h 1165"/>
                <a:gd name="T62" fmla="*/ 640 w 696"/>
                <a:gd name="T63" fmla="*/ 1014 h 1165"/>
                <a:gd name="T64" fmla="*/ 56 w 696"/>
                <a:gd name="T65" fmla="*/ 1014 h 1165"/>
                <a:gd name="T66" fmla="*/ 56 w 696"/>
                <a:gd name="T67" fmla="*/ 129 h 1165"/>
                <a:gd name="T68" fmla="*/ 640 w 696"/>
                <a:gd name="T69" fmla="*/ 129 h 1165"/>
                <a:gd name="T70" fmla="*/ 640 w 696"/>
                <a:gd name="T71" fmla="*/ 1014 h 1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96" h="1165">
                  <a:moveTo>
                    <a:pt x="615" y="0"/>
                  </a:moveTo>
                  <a:cubicBezTo>
                    <a:pt x="81" y="0"/>
                    <a:pt x="81" y="0"/>
                    <a:pt x="81" y="0"/>
                  </a:cubicBezTo>
                  <a:cubicBezTo>
                    <a:pt x="36" y="0"/>
                    <a:pt x="0" y="37"/>
                    <a:pt x="0" y="82"/>
                  </a:cubicBezTo>
                  <a:cubicBezTo>
                    <a:pt x="0" y="1083"/>
                    <a:pt x="0" y="1083"/>
                    <a:pt x="0" y="1083"/>
                  </a:cubicBezTo>
                  <a:cubicBezTo>
                    <a:pt x="0" y="1128"/>
                    <a:pt x="36" y="1165"/>
                    <a:pt x="81" y="1165"/>
                  </a:cubicBezTo>
                  <a:cubicBezTo>
                    <a:pt x="615" y="1165"/>
                    <a:pt x="615" y="1165"/>
                    <a:pt x="615" y="1165"/>
                  </a:cubicBezTo>
                  <a:cubicBezTo>
                    <a:pt x="660" y="1165"/>
                    <a:pt x="696" y="1128"/>
                    <a:pt x="696" y="1083"/>
                  </a:cubicBezTo>
                  <a:cubicBezTo>
                    <a:pt x="696" y="82"/>
                    <a:pt x="696" y="82"/>
                    <a:pt x="696" y="82"/>
                  </a:cubicBezTo>
                  <a:cubicBezTo>
                    <a:pt x="696" y="37"/>
                    <a:pt x="659" y="0"/>
                    <a:pt x="615" y="0"/>
                  </a:cubicBezTo>
                  <a:close/>
                  <a:moveTo>
                    <a:pt x="205" y="46"/>
                  </a:moveTo>
                  <a:cubicBezTo>
                    <a:pt x="491" y="46"/>
                    <a:pt x="491" y="46"/>
                    <a:pt x="491" y="46"/>
                  </a:cubicBezTo>
                  <a:cubicBezTo>
                    <a:pt x="501" y="46"/>
                    <a:pt x="510" y="54"/>
                    <a:pt x="510" y="65"/>
                  </a:cubicBezTo>
                  <a:cubicBezTo>
                    <a:pt x="510" y="75"/>
                    <a:pt x="501" y="84"/>
                    <a:pt x="491" y="84"/>
                  </a:cubicBezTo>
                  <a:cubicBezTo>
                    <a:pt x="205" y="84"/>
                    <a:pt x="205" y="84"/>
                    <a:pt x="205" y="84"/>
                  </a:cubicBezTo>
                  <a:cubicBezTo>
                    <a:pt x="195" y="84"/>
                    <a:pt x="186" y="75"/>
                    <a:pt x="186" y="65"/>
                  </a:cubicBezTo>
                  <a:cubicBezTo>
                    <a:pt x="186" y="54"/>
                    <a:pt x="195" y="46"/>
                    <a:pt x="205" y="46"/>
                  </a:cubicBezTo>
                  <a:close/>
                  <a:moveTo>
                    <a:pt x="265" y="1107"/>
                  </a:moveTo>
                  <a:cubicBezTo>
                    <a:pt x="255" y="1107"/>
                    <a:pt x="246" y="1099"/>
                    <a:pt x="246" y="1088"/>
                  </a:cubicBezTo>
                  <a:cubicBezTo>
                    <a:pt x="246" y="1078"/>
                    <a:pt x="255" y="1069"/>
                    <a:pt x="265" y="1069"/>
                  </a:cubicBezTo>
                  <a:cubicBezTo>
                    <a:pt x="276" y="1069"/>
                    <a:pt x="284" y="1078"/>
                    <a:pt x="284" y="1088"/>
                  </a:cubicBezTo>
                  <a:cubicBezTo>
                    <a:pt x="284" y="1099"/>
                    <a:pt x="276" y="1107"/>
                    <a:pt x="265" y="1107"/>
                  </a:cubicBezTo>
                  <a:close/>
                  <a:moveTo>
                    <a:pt x="348" y="1136"/>
                  </a:moveTo>
                  <a:cubicBezTo>
                    <a:pt x="322" y="1136"/>
                    <a:pt x="301" y="1115"/>
                    <a:pt x="301" y="1088"/>
                  </a:cubicBezTo>
                  <a:cubicBezTo>
                    <a:pt x="301" y="1062"/>
                    <a:pt x="322" y="1041"/>
                    <a:pt x="348" y="1041"/>
                  </a:cubicBezTo>
                  <a:cubicBezTo>
                    <a:pt x="374" y="1041"/>
                    <a:pt x="395" y="1062"/>
                    <a:pt x="395" y="1088"/>
                  </a:cubicBezTo>
                  <a:cubicBezTo>
                    <a:pt x="395" y="1115"/>
                    <a:pt x="374" y="1136"/>
                    <a:pt x="348" y="1136"/>
                  </a:cubicBezTo>
                  <a:close/>
                  <a:moveTo>
                    <a:pt x="431" y="1107"/>
                  </a:moveTo>
                  <a:cubicBezTo>
                    <a:pt x="420" y="1107"/>
                    <a:pt x="412" y="1099"/>
                    <a:pt x="412" y="1088"/>
                  </a:cubicBezTo>
                  <a:cubicBezTo>
                    <a:pt x="412" y="1078"/>
                    <a:pt x="420" y="1069"/>
                    <a:pt x="431" y="1069"/>
                  </a:cubicBezTo>
                  <a:cubicBezTo>
                    <a:pt x="441" y="1069"/>
                    <a:pt x="449" y="1078"/>
                    <a:pt x="449" y="1088"/>
                  </a:cubicBezTo>
                  <a:cubicBezTo>
                    <a:pt x="449" y="1099"/>
                    <a:pt x="441" y="1107"/>
                    <a:pt x="431" y="1107"/>
                  </a:cubicBezTo>
                  <a:close/>
                  <a:moveTo>
                    <a:pt x="640" y="1014"/>
                  </a:moveTo>
                  <a:cubicBezTo>
                    <a:pt x="56" y="1014"/>
                    <a:pt x="56" y="1014"/>
                    <a:pt x="56" y="1014"/>
                  </a:cubicBezTo>
                  <a:cubicBezTo>
                    <a:pt x="56" y="129"/>
                    <a:pt x="56" y="129"/>
                    <a:pt x="56" y="129"/>
                  </a:cubicBezTo>
                  <a:cubicBezTo>
                    <a:pt x="640" y="129"/>
                    <a:pt x="640" y="129"/>
                    <a:pt x="640" y="129"/>
                  </a:cubicBezTo>
                  <a:lnTo>
                    <a:pt x="640" y="101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8">
              <a:extLst>
                <a:ext uri="{FF2B5EF4-FFF2-40B4-BE49-F238E27FC236}">
                  <a16:creationId xmlns:a16="http://schemas.microsoft.com/office/drawing/2014/main" id="{84976548-82B3-594F-B2F8-526F15159E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6170" y="4464074"/>
              <a:ext cx="430885" cy="643705"/>
            </a:xfrm>
            <a:custGeom>
              <a:avLst/>
              <a:gdLst>
                <a:gd name="T0" fmla="*/ 0 w 575"/>
                <a:gd name="T1" fmla="*/ 0 h 859"/>
                <a:gd name="T2" fmla="*/ 0 w 575"/>
                <a:gd name="T3" fmla="*/ 859 h 859"/>
                <a:gd name="T4" fmla="*/ 575 w 575"/>
                <a:gd name="T5" fmla="*/ 0 h 859"/>
                <a:gd name="T6" fmla="*/ 0 w 575"/>
                <a:gd name="T7" fmla="*/ 0 h 8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5" h="859">
                  <a:moveTo>
                    <a:pt x="0" y="0"/>
                  </a:moveTo>
                  <a:lnTo>
                    <a:pt x="0" y="859"/>
                  </a:lnTo>
                  <a:lnTo>
                    <a:pt x="57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69">
              <a:extLst>
                <a:ext uri="{FF2B5EF4-FFF2-40B4-BE49-F238E27FC236}">
                  <a16:creationId xmlns:a16="http://schemas.microsoft.com/office/drawing/2014/main" id="{E6B08CA8-C8FD-204F-AD82-DD9A0A59F3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6170" y="4464074"/>
              <a:ext cx="431635" cy="653447"/>
            </a:xfrm>
            <a:custGeom>
              <a:avLst/>
              <a:gdLst>
                <a:gd name="T0" fmla="*/ 0 w 576"/>
                <a:gd name="T1" fmla="*/ 859 h 872"/>
                <a:gd name="T2" fmla="*/ 0 w 576"/>
                <a:gd name="T3" fmla="*/ 872 h 872"/>
                <a:gd name="T4" fmla="*/ 576 w 576"/>
                <a:gd name="T5" fmla="*/ 872 h 872"/>
                <a:gd name="T6" fmla="*/ 576 w 576"/>
                <a:gd name="T7" fmla="*/ 0 h 872"/>
                <a:gd name="T8" fmla="*/ 575 w 576"/>
                <a:gd name="T9" fmla="*/ 0 h 872"/>
                <a:gd name="T10" fmla="*/ 0 w 576"/>
                <a:gd name="T11" fmla="*/ 859 h 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6" h="872">
                  <a:moveTo>
                    <a:pt x="0" y="859"/>
                  </a:moveTo>
                  <a:lnTo>
                    <a:pt x="0" y="872"/>
                  </a:lnTo>
                  <a:lnTo>
                    <a:pt x="576" y="872"/>
                  </a:lnTo>
                  <a:lnTo>
                    <a:pt x="576" y="0"/>
                  </a:lnTo>
                  <a:lnTo>
                    <a:pt x="575" y="0"/>
                  </a:lnTo>
                  <a:lnTo>
                    <a:pt x="0" y="859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Oval 70">
              <a:extLst>
                <a:ext uri="{FF2B5EF4-FFF2-40B4-BE49-F238E27FC236}">
                  <a16:creationId xmlns:a16="http://schemas.microsoft.com/office/drawing/2014/main" id="{67C03453-3C67-194A-8ED1-511324B191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0204" y="4472317"/>
              <a:ext cx="41964" cy="43463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Oval 71">
              <a:extLst>
                <a:ext uri="{FF2B5EF4-FFF2-40B4-BE49-F238E27FC236}">
                  <a16:creationId xmlns:a16="http://schemas.microsoft.com/office/drawing/2014/main" id="{38C64DE2-602E-2942-AFAB-68EE276ED4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2351" y="4472317"/>
              <a:ext cx="42714" cy="43463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Rectangle 72">
              <a:extLst>
                <a:ext uri="{FF2B5EF4-FFF2-40B4-BE49-F238E27FC236}">
                  <a16:creationId xmlns:a16="http://schemas.microsoft.com/office/drawing/2014/main" id="{712805CC-EF4A-5643-BC74-40CEBA7C47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9891" y="4488803"/>
              <a:ext cx="367938" cy="1049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73">
              <a:extLst>
                <a:ext uri="{FF2B5EF4-FFF2-40B4-BE49-F238E27FC236}">
                  <a16:creationId xmlns:a16="http://schemas.microsoft.com/office/drawing/2014/main" id="{1A682606-156F-494D-8ADD-E2D4C19ADA76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8909" y="4472317"/>
              <a:ext cx="164860" cy="43463"/>
            </a:xfrm>
            <a:custGeom>
              <a:avLst/>
              <a:gdLst>
                <a:gd name="T0" fmla="*/ 222 w 223"/>
                <a:gd name="T1" fmla="*/ 22 h 58"/>
                <a:gd name="T2" fmla="*/ 194 w 223"/>
                <a:gd name="T3" fmla="*/ 0 h 58"/>
                <a:gd name="T4" fmla="*/ 166 w 223"/>
                <a:gd name="T5" fmla="*/ 22 h 58"/>
                <a:gd name="T6" fmla="*/ 57 w 223"/>
                <a:gd name="T7" fmla="*/ 22 h 58"/>
                <a:gd name="T8" fmla="*/ 29 w 223"/>
                <a:gd name="T9" fmla="*/ 0 h 58"/>
                <a:gd name="T10" fmla="*/ 0 w 223"/>
                <a:gd name="T11" fmla="*/ 29 h 58"/>
                <a:gd name="T12" fmla="*/ 29 w 223"/>
                <a:gd name="T13" fmla="*/ 58 h 58"/>
                <a:gd name="T14" fmla="*/ 57 w 223"/>
                <a:gd name="T15" fmla="*/ 36 h 58"/>
                <a:gd name="T16" fmla="*/ 166 w 223"/>
                <a:gd name="T17" fmla="*/ 36 h 58"/>
                <a:gd name="T18" fmla="*/ 194 w 223"/>
                <a:gd name="T19" fmla="*/ 58 h 58"/>
                <a:gd name="T20" fmla="*/ 222 w 223"/>
                <a:gd name="T21" fmla="*/ 36 h 58"/>
                <a:gd name="T22" fmla="*/ 223 w 223"/>
                <a:gd name="T23" fmla="*/ 36 h 58"/>
                <a:gd name="T24" fmla="*/ 223 w 223"/>
                <a:gd name="T25" fmla="*/ 22 h 58"/>
                <a:gd name="T26" fmla="*/ 222 w 223"/>
                <a:gd name="T27" fmla="*/ 22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3" h="58">
                  <a:moveTo>
                    <a:pt x="222" y="22"/>
                  </a:moveTo>
                  <a:cubicBezTo>
                    <a:pt x="219" y="10"/>
                    <a:pt x="208" y="0"/>
                    <a:pt x="194" y="0"/>
                  </a:cubicBezTo>
                  <a:cubicBezTo>
                    <a:pt x="181" y="0"/>
                    <a:pt x="170" y="10"/>
                    <a:pt x="166" y="22"/>
                  </a:cubicBezTo>
                  <a:cubicBezTo>
                    <a:pt x="57" y="22"/>
                    <a:pt x="57" y="22"/>
                    <a:pt x="57" y="22"/>
                  </a:cubicBezTo>
                  <a:cubicBezTo>
                    <a:pt x="54" y="10"/>
                    <a:pt x="42" y="0"/>
                    <a:pt x="29" y="0"/>
                  </a:cubicBezTo>
                  <a:cubicBezTo>
                    <a:pt x="13" y="0"/>
                    <a:pt x="0" y="13"/>
                    <a:pt x="0" y="29"/>
                  </a:cubicBezTo>
                  <a:cubicBezTo>
                    <a:pt x="0" y="45"/>
                    <a:pt x="13" y="58"/>
                    <a:pt x="29" y="58"/>
                  </a:cubicBezTo>
                  <a:cubicBezTo>
                    <a:pt x="42" y="58"/>
                    <a:pt x="54" y="49"/>
                    <a:pt x="57" y="36"/>
                  </a:cubicBezTo>
                  <a:cubicBezTo>
                    <a:pt x="166" y="36"/>
                    <a:pt x="166" y="36"/>
                    <a:pt x="166" y="36"/>
                  </a:cubicBezTo>
                  <a:cubicBezTo>
                    <a:pt x="170" y="49"/>
                    <a:pt x="181" y="58"/>
                    <a:pt x="194" y="58"/>
                  </a:cubicBezTo>
                  <a:cubicBezTo>
                    <a:pt x="208" y="58"/>
                    <a:pt x="219" y="49"/>
                    <a:pt x="222" y="36"/>
                  </a:cubicBezTo>
                  <a:cubicBezTo>
                    <a:pt x="223" y="36"/>
                    <a:pt x="223" y="36"/>
                    <a:pt x="223" y="36"/>
                  </a:cubicBezTo>
                  <a:cubicBezTo>
                    <a:pt x="223" y="22"/>
                    <a:pt x="223" y="22"/>
                    <a:pt x="223" y="22"/>
                  </a:cubicBezTo>
                  <a:lnTo>
                    <a:pt x="222" y="22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74">
              <a:extLst>
                <a:ext uri="{FF2B5EF4-FFF2-40B4-BE49-F238E27FC236}">
                  <a16:creationId xmlns:a16="http://schemas.microsoft.com/office/drawing/2014/main" id="{DCD46556-8C0A-E348-9971-51F927ADBB8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660" y="4531516"/>
              <a:ext cx="107159" cy="41964"/>
            </a:xfrm>
            <a:custGeom>
              <a:avLst/>
              <a:gdLst>
                <a:gd name="T0" fmla="*/ 145 w 145"/>
                <a:gd name="T1" fmla="*/ 29 h 57"/>
                <a:gd name="T2" fmla="*/ 117 w 145"/>
                <a:gd name="T3" fmla="*/ 57 h 57"/>
                <a:gd name="T4" fmla="*/ 28 w 145"/>
                <a:gd name="T5" fmla="*/ 57 h 57"/>
                <a:gd name="T6" fmla="*/ 0 w 145"/>
                <a:gd name="T7" fmla="*/ 29 h 57"/>
                <a:gd name="T8" fmla="*/ 0 w 145"/>
                <a:gd name="T9" fmla="*/ 29 h 57"/>
                <a:gd name="T10" fmla="*/ 28 w 145"/>
                <a:gd name="T11" fmla="*/ 0 h 57"/>
                <a:gd name="T12" fmla="*/ 117 w 145"/>
                <a:gd name="T13" fmla="*/ 0 h 57"/>
                <a:gd name="T14" fmla="*/ 145 w 145"/>
                <a:gd name="T15" fmla="*/ 29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5" h="57">
                  <a:moveTo>
                    <a:pt x="145" y="29"/>
                  </a:moveTo>
                  <a:cubicBezTo>
                    <a:pt x="145" y="44"/>
                    <a:pt x="132" y="57"/>
                    <a:pt x="117" y="57"/>
                  </a:cubicBezTo>
                  <a:cubicBezTo>
                    <a:pt x="28" y="57"/>
                    <a:pt x="28" y="57"/>
                    <a:pt x="28" y="57"/>
                  </a:cubicBezTo>
                  <a:cubicBezTo>
                    <a:pt x="13" y="57"/>
                    <a:pt x="0" y="44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3"/>
                    <a:pt x="13" y="0"/>
                    <a:pt x="28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32" y="0"/>
                    <a:pt x="145" y="13"/>
                    <a:pt x="145" y="29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Oval 75">
              <a:extLst>
                <a:ext uri="{FF2B5EF4-FFF2-40B4-BE49-F238E27FC236}">
                  <a16:creationId xmlns:a16="http://schemas.microsoft.com/office/drawing/2014/main" id="{A722FE29-8215-704C-AEBC-C6FE1DE8FC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7156" y="4533765"/>
              <a:ext cx="38218" cy="37468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76">
              <a:extLst>
                <a:ext uri="{FF2B5EF4-FFF2-40B4-BE49-F238E27FC236}">
                  <a16:creationId xmlns:a16="http://schemas.microsoft.com/office/drawing/2014/main" id="{A2F6220B-8D22-DD4C-B240-56E3C72D2C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1906" y="4528519"/>
              <a:ext cx="107909" cy="41964"/>
            </a:xfrm>
            <a:custGeom>
              <a:avLst/>
              <a:gdLst>
                <a:gd name="T0" fmla="*/ 0 w 146"/>
                <a:gd name="T1" fmla="*/ 29 h 57"/>
                <a:gd name="T2" fmla="*/ 29 w 146"/>
                <a:gd name="T3" fmla="*/ 0 h 57"/>
                <a:gd name="T4" fmla="*/ 117 w 146"/>
                <a:gd name="T5" fmla="*/ 0 h 57"/>
                <a:gd name="T6" fmla="*/ 146 w 146"/>
                <a:gd name="T7" fmla="*/ 29 h 57"/>
                <a:gd name="T8" fmla="*/ 146 w 146"/>
                <a:gd name="T9" fmla="*/ 29 h 57"/>
                <a:gd name="T10" fmla="*/ 117 w 146"/>
                <a:gd name="T11" fmla="*/ 57 h 57"/>
                <a:gd name="T12" fmla="*/ 29 w 146"/>
                <a:gd name="T13" fmla="*/ 57 h 57"/>
                <a:gd name="T14" fmla="*/ 0 w 146"/>
                <a:gd name="T15" fmla="*/ 29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6" h="57">
                  <a:moveTo>
                    <a:pt x="0" y="29"/>
                  </a:moveTo>
                  <a:cubicBezTo>
                    <a:pt x="0" y="13"/>
                    <a:pt x="13" y="0"/>
                    <a:pt x="29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33" y="0"/>
                    <a:pt x="146" y="13"/>
                    <a:pt x="146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6" y="44"/>
                    <a:pt x="133" y="57"/>
                    <a:pt x="117" y="57"/>
                  </a:cubicBezTo>
                  <a:cubicBezTo>
                    <a:pt x="29" y="57"/>
                    <a:pt x="29" y="57"/>
                    <a:pt x="29" y="57"/>
                  </a:cubicBezTo>
                  <a:cubicBezTo>
                    <a:pt x="13" y="57"/>
                    <a:pt x="0" y="44"/>
                    <a:pt x="0" y="29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Oval 77">
              <a:extLst>
                <a:ext uri="{FF2B5EF4-FFF2-40B4-BE49-F238E27FC236}">
                  <a16:creationId xmlns:a16="http://schemas.microsoft.com/office/drawing/2014/main" id="{8AC24F7D-C447-DF4F-B4E6-0D2EE3DAC6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87101" y="4530767"/>
              <a:ext cx="37468" cy="3746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1" name="Group 58">
            <a:extLst>
              <a:ext uri="{FF2B5EF4-FFF2-40B4-BE49-F238E27FC236}">
                <a16:creationId xmlns:a16="http://schemas.microsoft.com/office/drawing/2014/main" id="{50DC15E5-7ECA-464D-A992-E0E91077E13B}"/>
              </a:ext>
            </a:extLst>
          </p:cNvPr>
          <p:cNvGrpSpPr/>
          <p:nvPr/>
        </p:nvGrpSpPr>
        <p:grpSpPr>
          <a:xfrm>
            <a:off x="3840568" y="5813872"/>
            <a:ext cx="397912" cy="677426"/>
            <a:chOff x="7524187" y="5220933"/>
            <a:chExt cx="397912" cy="677426"/>
          </a:xfrm>
        </p:grpSpPr>
        <p:sp>
          <p:nvSpPr>
            <p:cNvPr id="72" name="Rectangle 103">
              <a:extLst>
                <a:ext uri="{FF2B5EF4-FFF2-40B4-BE49-F238E27FC236}">
                  <a16:creationId xmlns:a16="http://schemas.microsoft.com/office/drawing/2014/main" id="{6980D7FE-704D-E949-9DC7-EE1B2DF659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50830" y="5285378"/>
              <a:ext cx="202329" cy="30948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104">
              <a:extLst>
                <a:ext uri="{FF2B5EF4-FFF2-40B4-BE49-F238E27FC236}">
                  <a16:creationId xmlns:a16="http://schemas.microsoft.com/office/drawing/2014/main" id="{5E71DB05-E477-A047-A8FB-827B07E92E88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2794" y="5300365"/>
              <a:ext cx="31473" cy="170106"/>
            </a:xfrm>
            <a:custGeom>
              <a:avLst/>
              <a:gdLst>
                <a:gd name="T0" fmla="*/ 0 w 43"/>
                <a:gd name="T1" fmla="*/ 40 h 230"/>
                <a:gd name="T2" fmla="*/ 0 w 43"/>
                <a:gd name="T3" fmla="*/ 190 h 230"/>
                <a:gd name="T4" fmla="*/ 40 w 43"/>
                <a:gd name="T5" fmla="*/ 230 h 230"/>
                <a:gd name="T6" fmla="*/ 43 w 43"/>
                <a:gd name="T7" fmla="*/ 229 h 230"/>
                <a:gd name="T8" fmla="*/ 43 w 43"/>
                <a:gd name="T9" fmla="*/ 0 h 230"/>
                <a:gd name="T10" fmla="*/ 40 w 43"/>
                <a:gd name="T11" fmla="*/ 0 h 230"/>
                <a:gd name="T12" fmla="*/ 0 w 43"/>
                <a:gd name="T13" fmla="*/ 4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230">
                  <a:moveTo>
                    <a:pt x="0" y="40"/>
                  </a:moveTo>
                  <a:cubicBezTo>
                    <a:pt x="0" y="190"/>
                    <a:pt x="0" y="190"/>
                    <a:pt x="0" y="190"/>
                  </a:cubicBezTo>
                  <a:cubicBezTo>
                    <a:pt x="0" y="212"/>
                    <a:pt x="17" y="230"/>
                    <a:pt x="40" y="230"/>
                  </a:cubicBezTo>
                  <a:cubicBezTo>
                    <a:pt x="41" y="230"/>
                    <a:pt x="42" y="230"/>
                    <a:pt x="43" y="229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2" y="0"/>
                    <a:pt x="41" y="0"/>
                    <a:pt x="40" y="0"/>
                  </a:cubicBezTo>
                  <a:cubicBezTo>
                    <a:pt x="17" y="0"/>
                    <a:pt x="0" y="18"/>
                    <a:pt x="0" y="4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105">
              <a:extLst>
                <a:ext uri="{FF2B5EF4-FFF2-40B4-BE49-F238E27FC236}">
                  <a16:creationId xmlns:a16="http://schemas.microsoft.com/office/drawing/2014/main" id="{D9B49D9F-DA03-2E45-9666-E998241D5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4267" y="5220933"/>
              <a:ext cx="197832" cy="677426"/>
            </a:xfrm>
            <a:custGeom>
              <a:avLst/>
              <a:gdLst>
                <a:gd name="T0" fmla="*/ 267 w 268"/>
                <a:gd name="T1" fmla="*/ 670 h 918"/>
                <a:gd name="T2" fmla="*/ 267 w 268"/>
                <a:gd name="T3" fmla="*/ 202 h 918"/>
                <a:gd name="T4" fmla="*/ 28 w 268"/>
                <a:gd name="T5" fmla="*/ 1 h 918"/>
                <a:gd name="T6" fmla="*/ 1 w 268"/>
                <a:gd name="T7" fmla="*/ 0 h 918"/>
                <a:gd name="T8" fmla="*/ 0 w 268"/>
                <a:gd name="T9" fmla="*/ 0 h 918"/>
                <a:gd name="T10" fmla="*/ 0 w 268"/>
                <a:gd name="T11" fmla="*/ 108 h 918"/>
                <a:gd name="T12" fmla="*/ 37 w 268"/>
                <a:gd name="T13" fmla="*/ 148 h 918"/>
                <a:gd name="T14" fmla="*/ 37 w 268"/>
                <a:gd name="T15" fmla="*/ 298 h 918"/>
                <a:gd name="T16" fmla="*/ 0 w 268"/>
                <a:gd name="T17" fmla="*/ 337 h 918"/>
                <a:gd name="T18" fmla="*/ 0 w 268"/>
                <a:gd name="T19" fmla="*/ 918 h 918"/>
                <a:gd name="T20" fmla="*/ 19 w 268"/>
                <a:gd name="T21" fmla="*/ 917 h 918"/>
                <a:gd name="T22" fmla="*/ 261 w 268"/>
                <a:gd name="T23" fmla="*/ 722 h 918"/>
                <a:gd name="T24" fmla="*/ 267 w 268"/>
                <a:gd name="T25" fmla="*/ 670 h 9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8" h="918">
                  <a:moveTo>
                    <a:pt x="267" y="670"/>
                  </a:moveTo>
                  <a:cubicBezTo>
                    <a:pt x="267" y="202"/>
                    <a:pt x="267" y="202"/>
                    <a:pt x="267" y="202"/>
                  </a:cubicBezTo>
                  <a:cubicBezTo>
                    <a:pt x="267" y="202"/>
                    <a:pt x="265" y="14"/>
                    <a:pt x="28" y="1"/>
                  </a:cubicBezTo>
                  <a:cubicBezTo>
                    <a:pt x="19" y="0"/>
                    <a:pt x="10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21" y="110"/>
                    <a:pt x="37" y="127"/>
                    <a:pt x="37" y="148"/>
                  </a:cubicBezTo>
                  <a:cubicBezTo>
                    <a:pt x="37" y="298"/>
                    <a:pt x="37" y="298"/>
                    <a:pt x="37" y="298"/>
                  </a:cubicBezTo>
                  <a:cubicBezTo>
                    <a:pt x="37" y="318"/>
                    <a:pt x="21" y="336"/>
                    <a:pt x="0" y="337"/>
                  </a:cubicBezTo>
                  <a:cubicBezTo>
                    <a:pt x="0" y="918"/>
                    <a:pt x="0" y="918"/>
                    <a:pt x="0" y="918"/>
                  </a:cubicBezTo>
                  <a:cubicBezTo>
                    <a:pt x="7" y="918"/>
                    <a:pt x="13" y="917"/>
                    <a:pt x="19" y="917"/>
                  </a:cubicBezTo>
                  <a:cubicBezTo>
                    <a:pt x="232" y="907"/>
                    <a:pt x="258" y="757"/>
                    <a:pt x="261" y="722"/>
                  </a:cubicBezTo>
                  <a:cubicBezTo>
                    <a:pt x="268" y="692"/>
                    <a:pt x="267" y="670"/>
                    <a:pt x="267" y="67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106">
              <a:extLst>
                <a:ext uri="{FF2B5EF4-FFF2-40B4-BE49-F238E27FC236}">
                  <a16:creationId xmlns:a16="http://schemas.microsoft.com/office/drawing/2014/main" id="{B9DB09BA-9C38-694F-83E4-4638C572DB17}"/>
                </a:ext>
              </a:extLst>
            </p:cNvPr>
            <p:cNvSpPr>
              <a:spLocks/>
            </p:cNvSpPr>
            <p:nvPr/>
          </p:nvSpPr>
          <p:spPr bwMode="auto">
            <a:xfrm>
              <a:off x="7524187" y="5220933"/>
              <a:ext cx="200081" cy="677426"/>
            </a:xfrm>
            <a:custGeom>
              <a:avLst/>
              <a:gdLst>
                <a:gd name="T0" fmla="*/ 268 w 271"/>
                <a:gd name="T1" fmla="*/ 338 h 918"/>
                <a:gd name="T2" fmla="*/ 228 w 271"/>
                <a:gd name="T3" fmla="*/ 298 h 918"/>
                <a:gd name="T4" fmla="*/ 228 w 271"/>
                <a:gd name="T5" fmla="*/ 148 h 918"/>
                <a:gd name="T6" fmla="*/ 268 w 271"/>
                <a:gd name="T7" fmla="*/ 108 h 918"/>
                <a:gd name="T8" fmla="*/ 271 w 271"/>
                <a:gd name="T9" fmla="*/ 108 h 918"/>
                <a:gd name="T10" fmla="*/ 271 w 271"/>
                <a:gd name="T11" fmla="*/ 0 h 918"/>
                <a:gd name="T12" fmla="*/ 248 w 271"/>
                <a:gd name="T13" fmla="*/ 1 h 918"/>
                <a:gd name="T14" fmla="*/ 6 w 271"/>
                <a:gd name="T15" fmla="*/ 195 h 918"/>
                <a:gd name="T16" fmla="*/ 0 w 271"/>
                <a:gd name="T17" fmla="*/ 248 h 918"/>
                <a:gd name="T18" fmla="*/ 0 w 271"/>
                <a:gd name="T19" fmla="*/ 715 h 918"/>
                <a:gd name="T20" fmla="*/ 240 w 271"/>
                <a:gd name="T21" fmla="*/ 917 h 918"/>
                <a:gd name="T22" fmla="*/ 267 w 271"/>
                <a:gd name="T23" fmla="*/ 918 h 918"/>
                <a:gd name="T24" fmla="*/ 271 w 271"/>
                <a:gd name="T25" fmla="*/ 918 h 918"/>
                <a:gd name="T26" fmla="*/ 271 w 271"/>
                <a:gd name="T27" fmla="*/ 337 h 918"/>
                <a:gd name="T28" fmla="*/ 268 w 271"/>
                <a:gd name="T29" fmla="*/ 338 h 9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1" h="918">
                  <a:moveTo>
                    <a:pt x="268" y="338"/>
                  </a:moveTo>
                  <a:cubicBezTo>
                    <a:pt x="245" y="338"/>
                    <a:pt x="228" y="320"/>
                    <a:pt x="228" y="298"/>
                  </a:cubicBezTo>
                  <a:cubicBezTo>
                    <a:pt x="228" y="148"/>
                    <a:pt x="228" y="148"/>
                    <a:pt x="228" y="148"/>
                  </a:cubicBezTo>
                  <a:cubicBezTo>
                    <a:pt x="228" y="126"/>
                    <a:pt x="245" y="108"/>
                    <a:pt x="268" y="108"/>
                  </a:cubicBezTo>
                  <a:cubicBezTo>
                    <a:pt x="269" y="108"/>
                    <a:pt x="270" y="108"/>
                    <a:pt x="271" y="108"/>
                  </a:cubicBezTo>
                  <a:cubicBezTo>
                    <a:pt x="271" y="0"/>
                    <a:pt x="271" y="0"/>
                    <a:pt x="271" y="0"/>
                  </a:cubicBezTo>
                  <a:cubicBezTo>
                    <a:pt x="263" y="0"/>
                    <a:pt x="256" y="0"/>
                    <a:pt x="248" y="1"/>
                  </a:cubicBezTo>
                  <a:cubicBezTo>
                    <a:pt x="36" y="11"/>
                    <a:pt x="10" y="161"/>
                    <a:pt x="6" y="195"/>
                  </a:cubicBezTo>
                  <a:cubicBezTo>
                    <a:pt x="0" y="226"/>
                    <a:pt x="0" y="248"/>
                    <a:pt x="0" y="248"/>
                  </a:cubicBezTo>
                  <a:cubicBezTo>
                    <a:pt x="0" y="715"/>
                    <a:pt x="0" y="715"/>
                    <a:pt x="0" y="715"/>
                  </a:cubicBezTo>
                  <a:cubicBezTo>
                    <a:pt x="0" y="715"/>
                    <a:pt x="2" y="904"/>
                    <a:pt x="240" y="917"/>
                  </a:cubicBezTo>
                  <a:cubicBezTo>
                    <a:pt x="248" y="917"/>
                    <a:pt x="257" y="918"/>
                    <a:pt x="267" y="918"/>
                  </a:cubicBezTo>
                  <a:cubicBezTo>
                    <a:pt x="268" y="918"/>
                    <a:pt x="270" y="918"/>
                    <a:pt x="271" y="918"/>
                  </a:cubicBezTo>
                  <a:cubicBezTo>
                    <a:pt x="271" y="337"/>
                    <a:pt x="271" y="337"/>
                    <a:pt x="271" y="337"/>
                  </a:cubicBezTo>
                  <a:cubicBezTo>
                    <a:pt x="270" y="338"/>
                    <a:pt x="269" y="338"/>
                    <a:pt x="268" y="338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6" name="Group 63">
            <a:extLst>
              <a:ext uri="{FF2B5EF4-FFF2-40B4-BE49-F238E27FC236}">
                <a16:creationId xmlns:a16="http://schemas.microsoft.com/office/drawing/2014/main" id="{503BCE32-9DEA-C548-8524-0103AA953D9C}"/>
              </a:ext>
            </a:extLst>
          </p:cNvPr>
          <p:cNvGrpSpPr/>
          <p:nvPr/>
        </p:nvGrpSpPr>
        <p:grpSpPr>
          <a:xfrm>
            <a:off x="753162" y="3662775"/>
            <a:ext cx="3093381" cy="3052915"/>
            <a:chOff x="4451788" y="3829361"/>
            <a:chExt cx="3093381" cy="3052915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01F6B59-437F-3544-9C4B-667FDA9519D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496" y="4295466"/>
              <a:ext cx="2469909" cy="1647855"/>
            </a:xfrm>
            <a:custGeom>
              <a:avLst/>
              <a:gdLst>
                <a:gd name="T0" fmla="*/ 48 w 3344"/>
                <a:gd name="T1" fmla="*/ 2231 h 2231"/>
                <a:gd name="T2" fmla="*/ 3296 w 3344"/>
                <a:gd name="T3" fmla="*/ 2231 h 2231"/>
                <a:gd name="T4" fmla="*/ 3344 w 3344"/>
                <a:gd name="T5" fmla="*/ 2183 h 2231"/>
                <a:gd name="T6" fmla="*/ 3344 w 3344"/>
                <a:gd name="T7" fmla="*/ 48 h 2231"/>
                <a:gd name="T8" fmla="*/ 3296 w 3344"/>
                <a:gd name="T9" fmla="*/ 0 h 2231"/>
                <a:gd name="T10" fmla="*/ 3128 w 3344"/>
                <a:gd name="T11" fmla="*/ 0 h 2231"/>
                <a:gd name="T12" fmla="*/ 3128 w 3344"/>
                <a:gd name="T13" fmla="*/ 49 h 2231"/>
                <a:gd name="T14" fmla="*/ 2928 w 3344"/>
                <a:gd name="T15" fmla="*/ 49 h 2231"/>
                <a:gd name="T16" fmla="*/ 2928 w 3344"/>
                <a:gd name="T17" fmla="*/ 0 h 2231"/>
                <a:gd name="T18" fmla="*/ 430 w 3344"/>
                <a:gd name="T19" fmla="*/ 0 h 2231"/>
                <a:gd name="T20" fmla="*/ 430 w 3344"/>
                <a:gd name="T21" fmla="*/ 49 h 2231"/>
                <a:gd name="T22" fmla="*/ 230 w 3344"/>
                <a:gd name="T23" fmla="*/ 49 h 2231"/>
                <a:gd name="T24" fmla="*/ 230 w 3344"/>
                <a:gd name="T25" fmla="*/ 0 h 2231"/>
                <a:gd name="T26" fmla="*/ 48 w 3344"/>
                <a:gd name="T27" fmla="*/ 0 h 2231"/>
                <a:gd name="T28" fmla="*/ 0 w 3344"/>
                <a:gd name="T29" fmla="*/ 48 h 2231"/>
                <a:gd name="T30" fmla="*/ 0 w 3344"/>
                <a:gd name="T31" fmla="*/ 2183 h 2231"/>
                <a:gd name="T32" fmla="*/ 48 w 3344"/>
                <a:gd name="T33" fmla="*/ 2231 h 2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344" h="2231">
                  <a:moveTo>
                    <a:pt x="48" y="2231"/>
                  </a:moveTo>
                  <a:cubicBezTo>
                    <a:pt x="3296" y="2231"/>
                    <a:pt x="3296" y="2231"/>
                    <a:pt x="3296" y="2231"/>
                  </a:cubicBezTo>
                  <a:cubicBezTo>
                    <a:pt x="3323" y="2231"/>
                    <a:pt x="3344" y="2210"/>
                    <a:pt x="3344" y="2183"/>
                  </a:cubicBezTo>
                  <a:cubicBezTo>
                    <a:pt x="3344" y="48"/>
                    <a:pt x="3344" y="48"/>
                    <a:pt x="3344" y="48"/>
                  </a:cubicBezTo>
                  <a:cubicBezTo>
                    <a:pt x="3344" y="21"/>
                    <a:pt x="3323" y="0"/>
                    <a:pt x="3296" y="0"/>
                  </a:cubicBezTo>
                  <a:cubicBezTo>
                    <a:pt x="3128" y="0"/>
                    <a:pt x="3128" y="0"/>
                    <a:pt x="3128" y="0"/>
                  </a:cubicBezTo>
                  <a:cubicBezTo>
                    <a:pt x="3128" y="49"/>
                    <a:pt x="3128" y="49"/>
                    <a:pt x="3128" y="49"/>
                  </a:cubicBezTo>
                  <a:cubicBezTo>
                    <a:pt x="2928" y="49"/>
                    <a:pt x="2928" y="49"/>
                    <a:pt x="2928" y="49"/>
                  </a:cubicBezTo>
                  <a:cubicBezTo>
                    <a:pt x="2928" y="0"/>
                    <a:pt x="2928" y="0"/>
                    <a:pt x="2928" y="0"/>
                  </a:cubicBezTo>
                  <a:cubicBezTo>
                    <a:pt x="430" y="0"/>
                    <a:pt x="430" y="0"/>
                    <a:pt x="430" y="0"/>
                  </a:cubicBezTo>
                  <a:cubicBezTo>
                    <a:pt x="430" y="49"/>
                    <a:pt x="430" y="49"/>
                    <a:pt x="430" y="49"/>
                  </a:cubicBezTo>
                  <a:cubicBezTo>
                    <a:pt x="230" y="49"/>
                    <a:pt x="230" y="49"/>
                    <a:pt x="230" y="49"/>
                  </a:cubicBezTo>
                  <a:cubicBezTo>
                    <a:pt x="230" y="0"/>
                    <a:pt x="230" y="0"/>
                    <a:pt x="23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2" y="0"/>
                    <a:pt x="0" y="21"/>
                    <a:pt x="0" y="48"/>
                  </a:cubicBezTo>
                  <a:cubicBezTo>
                    <a:pt x="0" y="2183"/>
                    <a:pt x="0" y="2183"/>
                    <a:pt x="0" y="2183"/>
                  </a:cubicBezTo>
                  <a:cubicBezTo>
                    <a:pt x="0" y="2210"/>
                    <a:pt x="22" y="2231"/>
                    <a:pt x="48" y="2231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Rectangle 6">
              <a:extLst>
                <a:ext uri="{FF2B5EF4-FFF2-40B4-BE49-F238E27FC236}">
                  <a16:creationId xmlns:a16="http://schemas.microsoft.com/office/drawing/2014/main" id="{3283AE97-41D2-D845-AD1E-C379100287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72597" y="4252003"/>
              <a:ext cx="135635" cy="43463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7">
              <a:extLst>
                <a:ext uri="{FF2B5EF4-FFF2-40B4-BE49-F238E27FC236}">
                  <a16:creationId xmlns:a16="http://schemas.microsoft.com/office/drawing/2014/main" id="{0A0EDA11-4C7F-554F-8C44-57A8110F69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72597" y="4295466"/>
              <a:ext cx="135635" cy="29975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Rectangle 8">
              <a:extLst>
                <a:ext uri="{FF2B5EF4-FFF2-40B4-BE49-F238E27FC236}">
                  <a16:creationId xmlns:a16="http://schemas.microsoft.com/office/drawing/2014/main" id="{36307430-E7B1-C342-85AC-2567DF9C35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65160" y="4252003"/>
              <a:ext cx="135635" cy="43463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Rectangle 9">
              <a:extLst>
                <a:ext uri="{FF2B5EF4-FFF2-40B4-BE49-F238E27FC236}">
                  <a16:creationId xmlns:a16="http://schemas.microsoft.com/office/drawing/2014/main" id="{88E36546-9235-DC47-A1F1-61440EC031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65160" y="4295466"/>
              <a:ext cx="135635" cy="29975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10">
              <a:extLst>
                <a:ext uri="{FF2B5EF4-FFF2-40B4-BE49-F238E27FC236}">
                  <a16:creationId xmlns:a16="http://schemas.microsoft.com/office/drawing/2014/main" id="{6F5D38BA-891E-624C-8975-7AADF05411C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1788" y="3829361"/>
              <a:ext cx="3093381" cy="439878"/>
            </a:xfrm>
            <a:custGeom>
              <a:avLst/>
              <a:gdLst>
                <a:gd name="T0" fmla="*/ 4108 w 4188"/>
                <a:gd name="T1" fmla="*/ 124 h 596"/>
                <a:gd name="T2" fmla="*/ 4068 w 4188"/>
                <a:gd name="T3" fmla="*/ 0 h 596"/>
                <a:gd name="T4" fmla="*/ 176 w 4188"/>
                <a:gd name="T5" fmla="*/ 0 h 596"/>
                <a:gd name="T6" fmla="*/ 460 w 4188"/>
                <a:gd name="T7" fmla="*/ 596 h 596"/>
                <a:gd name="T8" fmla="*/ 3804 w 4188"/>
                <a:gd name="T9" fmla="*/ 596 h 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88" h="596">
                  <a:moveTo>
                    <a:pt x="4108" y="124"/>
                  </a:moveTo>
                  <a:cubicBezTo>
                    <a:pt x="4188" y="8"/>
                    <a:pt x="4068" y="0"/>
                    <a:pt x="4068" y="0"/>
                  </a:cubicBezTo>
                  <a:cubicBezTo>
                    <a:pt x="176" y="0"/>
                    <a:pt x="176" y="0"/>
                    <a:pt x="176" y="0"/>
                  </a:cubicBezTo>
                  <a:cubicBezTo>
                    <a:pt x="0" y="8"/>
                    <a:pt x="460" y="596"/>
                    <a:pt x="460" y="596"/>
                  </a:cubicBezTo>
                  <a:cubicBezTo>
                    <a:pt x="3804" y="596"/>
                    <a:pt x="3804" y="596"/>
                    <a:pt x="3804" y="596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11">
              <a:extLst>
                <a:ext uri="{FF2B5EF4-FFF2-40B4-BE49-F238E27FC236}">
                  <a16:creationId xmlns:a16="http://schemas.microsoft.com/office/drawing/2014/main" id="{17224606-10AC-DF43-BFE7-8BA4D9F24F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45527" y="5342330"/>
              <a:ext cx="771846" cy="501326"/>
            </a:xfrm>
            <a:custGeom>
              <a:avLst/>
              <a:gdLst>
                <a:gd name="T0" fmla="*/ 1030 w 1030"/>
                <a:gd name="T1" fmla="*/ 0 h 669"/>
                <a:gd name="T2" fmla="*/ 1030 w 1030"/>
                <a:gd name="T3" fmla="*/ 532 h 669"/>
                <a:gd name="T4" fmla="*/ 0 w 1030"/>
                <a:gd name="T5" fmla="*/ 532 h 669"/>
                <a:gd name="T6" fmla="*/ 0 w 1030"/>
                <a:gd name="T7" fmla="*/ 0 h 669"/>
                <a:gd name="T8" fmla="*/ 1030 w 1030"/>
                <a:gd name="T9" fmla="*/ 0 h 669"/>
                <a:gd name="T10" fmla="*/ 528 w 1030"/>
                <a:gd name="T11" fmla="*/ 669 h 669"/>
                <a:gd name="T12" fmla="*/ 1030 w 1030"/>
                <a:gd name="T13" fmla="*/ 669 h 669"/>
                <a:gd name="T14" fmla="*/ 1030 w 1030"/>
                <a:gd name="T15" fmla="*/ 550 h 669"/>
                <a:gd name="T16" fmla="*/ 528 w 1030"/>
                <a:gd name="T17" fmla="*/ 550 h 669"/>
                <a:gd name="T18" fmla="*/ 528 w 1030"/>
                <a:gd name="T19" fmla="*/ 669 h 669"/>
                <a:gd name="T20" fmla="*/ 0 w 1030"/>
                <a:gd name="T21" fmla="*/ 669 h 669"/>
                <a:gd name="T22" fmla="*/ 503 w 1030"/>
                <a:gd name="T23" fmla="*/ 669 h 669"/>
                <a:gd name="T24" fmla="*/ 503 w 1030"/>
                <a:gd name="T25" fmla="*/ 551 h 669"/>
                <a:gd name="T26" fmla="*/ 0 w 1030"/>
                <a:gd name="T27" fmla="*/ 551 h 669"/>
                <a:gd name="T28" fmla="*/ 0 w 1030"/>
                <a:gd name="T29" fmla="*/ 669 h 6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30" h="669">
                  <a:moveTo>
                    <a:pt x="1030" y="0"/>
                  </a:moveTo>
                  <a:lnTo>
                    <a:pt x="1030" y="532"/>
                  </a:lnTo>
                  <a:lnTo>
                    <a:pt x="0" y="532"/>
                  </a:lnTo>
                  <a:lnTo>
                    <a:pt x="0" y="0"/>
                  </a:lnTo>
                  <a:lnTo>
                    <a:pt x="1030" y="0"/>
                  </a:lnTo>
                  <a:close/>
                  <a:moveTo>
                    <a:pt x="528" y="669"/>
                  </a:moveTo>
                  <a:lnTo>
                    <a:pt x="1030" y="669"/>
                  </a:lnTo>
                  <a:lnTo>
                    <a:pt x="1030" y="550"/>
                  </a:lnTo>
                  <a:lnTo>
                    <a:pt x="528" y="550"/>
                  </a:lnTo>
                  <a:lnTo>
                    <a:pt x="528" y="669"/>
                  </a:lnTo>
                  <a:close/>
                  <a:moveTo>
                    <a:pt x="0" y="669"/>
                  </a:moveTo>
                  <a:lnTo>
                    <a:pt x="503" y="669"/>
                  </a:lnTo>
                  <a:lnTo>
                    <a:pt x="503" y="551"/>
                  </a:lnTo>
                  <a:lnTo>
                    <a:pt x="0" y="551"/>
                  </a:lnTo>
                  <a:lnTo>
                    <a:pt x="0" y="669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12">
              <a:extLst>
                <a:ext uri="{FF2B5EF4-FFF2-40B4-BE49-F238E27FC236}">
                  <a16:creationId xmlns:a16="http://schemas.microsoft.com/office/drawing/2014/main" id="{4C4AC3DE-3366-0649-A358-051214979D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40375" y="4430352"/>
              <a:ext cx="2182152" cy="817558"/>
            </a:xfrm>
            <a:custGeom>
              <a:avLst/>
              <a:gdLst>
                <a:gd name="T0" fmla="*/ 2599 w 2954"/>
                <a:gd name="T1" fmla="*/ 1081 h 1107"/>
                <a:gd name="T2" fmla="*/ 2556 w 2954"/>
                <a:gd name="T3" fmla="*/ 976 h 1107"/>
                <a:gd name="T4" fmla="*/ 2001 w 2954"/>
                <a:gd name="T5" fmla="*/ 976 h 1107"/>
                <a:gd name="T6" fmla="*/ 1960 w 2954"/>
                <a:gd name="T7" fmla="*/ 1081 h 1107"/>
                <a:gd name="T8" fmla="*/ 1430 w 2954"/>
                <a:gd name="T9" fmla="*/ 951 h 1107"/>
                <a:gd name="T10" fmla="*/ 1336 w 2954"/>
                <a:gd name="T11" fmla="*/ 1107 h 1107"/>
                <a:gd name="T12" fmla="*/ 940 w 2954"/>
                <a:gd name="T13" fmla="*/ 951 h 1107"/>
                <a:gd name="T14" fmla="*/ 633 w 2954"/>
                <a:gd name="T15" fmla="*/ 1107 h 1107"/>
                <a:gd name="T16" fmla="*/ 538 w 2954"/>
                <a:gd name="T17" fmla="*/ 951 h 1107"/>
                <a:gd name="T18" fmla="*/ 10 w 2954"/>
                <a:gd name="T19" fmla="*/ 1081 h 1107"/>
                <a:gd name="T20" fmla="*/ 2954 w 2954"/>
                <a:gd name="T21" fmla="*/ 784 h 1107"/>
                <a:gd name="T22" fmla="*/ 2400 w 2954"/>
                <a:gd name="T23" fmla="*/ 784 h 1107"/>
                <a:gd name="T24" fmla="*/ 2358 w 2954"/>
                <a:gd name="T25" fmla="*/ 890 h 1107"/>
                <a:gd name="T26" fmla="*/ 1830 w 2954"/>
                <a:gd name="T27" fmla="*/ 759 h 1107"/>
                <a:gd name="T28" fmla="*/ 1734 w 2954"/>
                <a:gd name="T29" fmla="*/ 915 h 1107"/>
                <a:gd name="T30" fmla="*/ 1336 w 2954"/>
                <a:gd name="T31" fmla="*/ 759 h 1107"/>
                <a:gd name="T32" fmla="*/ 1035 w 2954"/>
                <a:gd name="T33" fmla="*/ 915 h 1107"/>
                <a:gd name="T34" fmla="*/ 940 w 2954"/>
                <a:gd name="T35" fmla="*/ 759 h 1107"/>
                <a:gd name="T36" fmla="*/ 408 w 2954"/>
                <a:gd name="T37" fmla="*/ 890 h 1107"/>
                <a:gd name="T38" fmla="*/ 366 w 2954"/>
                <a:gd name="T39" fmla="*/ 784 h 1107"/>
                <a:gd name="T40" fmla="*/ 2599 w 2954"/>
                <a:gd name="T41" fmla="*/ 593 h 1107"/>
                <a:gd name="T42" fmla="*/ 2556 w 2954"/>
                <a:gd name="T43" fmla="*/ 698 h 1107"/>
                <a:gd name="T44" fmla="*/ 2026 w 2954"/>
                <a:gd name="T45" fmla="*/ 567 h 1107"/>
                <a:gd name="T46" fmla="*/ 1935 w 2954"/>
                <a:gd name="T47" fmla="*/ 723 h 1107"/>
                <a:gd name="T48" fmla="*/ 1535 w 2954"/>
                <a:gd name="T49" fmla="*/ 567 h 1107"/>
                <a:gd name="T50" fmla="*/ 1231 w 2954"/>
                <a:gd name="T51" fmla="*/ 723 h 1107"/>
                <a:gd name="T52" fmla="*/ 1140 w 2954"/>
                <a:gd name="T53" fmla="*/ 567 h 1107"/>
                <a:gd name="T54" fmla="*/ 607 w 2954"/>
                <a:gd name="T55" fmla="*/ 698 h 1107"/>
                <a:gd name="T56" fmla="*/ 564 w 2954"/>
                <a:gd name="T57" fmla="*/ 593 h 1107"/>
                <a:gd name="T58" fmla="*/ 166 w 2954"/>
                <a:gd name="T59" fmla="*/ 698 h 1107"/>
                <a:gd name="T60" fmla="*/ 2954 w 2954"/>
                <a:gd name="T61" fmla="*/ 506 h 1107"/>
                <a:gd name="T62" fmla="*/ 2425 w 2954"/>
                <a:gd name="T63" fmla="*/ 376 h 1107"/>
                <a:gd name="T64" fmla="*/ 2332 w 2954"/>
                <a:gd name="T65" fmla="*/ 532 h 1107"/>
                <a:gd name="T66" fmla="*/ 1935 w 2954"/>
                <a:gd name="T67" fmla="*/ 376 h 1107"/>
                <a:gd name="T68" fmla="*/ 1629 w 2954"/>
                <a:gd name="T69" fmla="*/ 532 h 1107"/>
                <a:gd name="T70" fmla="*/ 1535 w 2954"/>
                <a:gd name="T71" fmla="*/ 376 h 1107"/>
                <a:gd name="T72" fmla="*/ 1009 w 2954"/>
                <a:gd name="T73" fmla="*/ 506 h 1107"/>
                <a:gd name="T74" fmla="*/ 965 w 2954"/>
                <a:gd name="T75" fmla="*/ 401 h 1107"/>
                <a:gd name="T76" fmla="*/ 408 w 2954"/>
                <a:gd name="T77" fmla="*/ 401 h 1107"/>
                <a:gd name="T78" fmla="*/ 207 w 2954"/>
                <a:gd name="T79" fmla="*/ 401 h 1107"/>
                <a:gd name="T80" fmla="*/ 2824 w 2954"/>
                <a:gd name="T81" fmla="*/ 184 h 1107"/>
                <a:gd name="T82" fmla="*/ 2729 w 2954"/>
                <a:gd name="T83" fmla="*/ 340 h 1107"/>
                <a:gd name="T84" fmla="*/ 2332 w 2954"/>
                <a:gd name="T85" fmla="*/ 184 h 1107"/>
                <a:gd name="T86" fmla="*/ 2026 w 2954"/>
                <a:gd name="T87" fmla="*/ 340 h 1107"/>
                <a:gd name="T88" fmla="*/ 1935 w 2954"/>
                <a:gd name="T89" fmla="*/ 184 h 1107"/>
                <a:gd name="T90" fmla="*/ 1404 w 2954"/>
                <a:gd name="T91" fmla="*/ 315 h 1107"/>
                <a:gd name="T92" fmla="*/ 1362 w 2954"/>
                <a:gd name="T93" fmla="*/ 210 h 1107"/>
                <a:gd name="T94" fmla="*/ 809 w 2954"/>
                <a:gd name="T95" fmla="*/ 210 h 1107"/>
                <a:gd name="T96" fmla="*/ 763 w 2954"/>
                <a:gd name="T97" fmla="*/ 315 h 1107"/>
                <a:gd name="T98" fmla="*/ 337 w 2954"/>
                <a:gd name="T99" fmla="*/ 340 h 1107"/>
                <a:gd name="T100" fmla="*/ 36 w 2954"/>
                <a:gd name="T101" fmla="*/ 184 h 1107"/>
                <a:gd name="T102" fmla="*/ 2629 w 2954"/>
                <a:gd name="T103" fmla="*/ 141 h 1107"/>
                <a:gd name="T104" fmla="*/ 2525 w 2954"/>
                <a:gd name="T105" fmla="*/ 0 h 1107"/>
                <a:gd name="T106" fmla="*/ 2233 w 2954"/>
                <a:gd name="T107" fmla="*/ 141 h 1107"/>
                <a:gd name="T108" fmla="*/ 1952 w 2954"/>
                <a:gd name="T109" fmla="*/ 23 h 1107"/>
                <a:gd name="T110" fmla="*/ 1616 w 2954"/>
                <a:gd name="T111" fmla="*/ 118 h 1107"/>
                <a:gd name="T112" fmla="*/ 1354 w 2954"/>
                <a:gd name="T113" fmla="*/ 118 h 1107"/>
                <a:gd name="T114" fmla="*/ 1017 w 2954"/>
                <a:gd name="T115" fmla="*/ 23 h 1107"/>
                <a:gd name="T116" fmla="*/ 732 w 2954"/>
                <a:gd name="T117" fmla="*/ 141 h 1107"/>
                <a:gd name="T118" fmla="*/ 439 w 2954"/>
                <a:gd name="T119" fmla="*/ 0 h 1107"/>
                <a:gd name="T120" fmla="*/ 41 w 2954"/>
                <a:gd name="T121" fmla="*/ 141 h 1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54" h="1107">
                  <a:moveTo>
                    <a:pt x="2954" y="976"/>
                  </a:moveTo>
                  <a:cubicBezTo>
                    <a:pt x="2954" y="1081"/>
                    <a:pt x="2954" y="1081"/>
                    <a:pt x="2954" y="1081"/>
                  </a:cubicBezTo>
                  <a:cubicBezTo>
                    <a:pt x="2954" y="1095"/>
                    <a:pt x="2943" y="1107"/>
                    <a:pt x="2929" y="1107"/>
                  </a:cubicBezTo>
                  <a:cubicBezTo>
                    <a:pt x="2824" y="1107"/>
                    <a:pt x="2824" y="1107"/>
                    <a:pt x="2824" y="1107"/>
                  </a:cubicBezTo>
                  <a:cubicBezTo>
                    <a:pt x="2810" y="1107"/>
                    <a:pt x="2798" y="1095"/>
                    <a:pt x="2798" y="1081"/>
                  </a:cubicBezTo>
                  <a:cubicBezTo>
                    <a:pt x="2798" y="976"/>
                    <a:pt x="2798" y="976"/>
                    <a:pt x="2798" y="976"/>
                  </a:cubicBezTo>
                  <a:cubicBezTo>
                    <a:pt x="2798" y="962"/>
                    <a:pt x="2810" y="951"/>
                    <a:pt x="2824" y="951"/>
                  </a:cubicBezTo>
                  <a:cubicBezTo>
                    <a:pt x="2929" y="951"/>
                    <a:pt x="2929" y="951"/>
                    <a:pt x="2929" y="951"/>
                  </a:cubicBezTo>
                  <a:cubicBezTo>
                    <a:pt x="2943" y="951"/>
                    <a:pt x="2954" y="962"/>
                    <a:pt x="2954" y="976"/>
                  </a:cubicBezTo>
                  <a:close/>
                  <a:moveTo>
                    <a:pt x="2729" y="951"/>
                  </a:moveTo>
                  <a:cubicBezTo>
                    <a:pt x="2624" y="951"/>
                    <a:pt x="2624" y="951"/>
                    <a:pt x="2624" y="951"/>
                  </a:cubicBezTo>
                  <a:cubicBezTo>
                    <a:pt x="2610" y="951"/>
                    <a:pt x="2599" y="962"/>
                    <a:pt x="2599" y="976"/>
                  </a:cubicBezTo>
                  <a:cubicBezTo>
                    <a:pt x="2599" y="1081"/>
                    <a:pt x="2599" y="1081"/>
                    <a:pt x="2599" y="1081"/>
                  </a:cubicBezTo>
                  <a:cubicBezTo>
                    <a:pt x="2599" y="1095"/>
                    <a:pt x="2610" y="1107"/>
                    <a:pt x="2624" y="1107"/>
                  </a:cubicBezTo>
                  <a:cubicBezTo>
                    <a:pt x="2729" y="1107"/>
                    <a:pt x="2729" y="1107"/>
                    <a:pt x="2729" y="1107"/>
                  </a:cubicBezTo>
                  <a:cubicBezTo>
                    <a:pt x="2743" y="1107"/>
                    <a:pt x="2755" y="1095"/>
                    <a:pt x="2755" y="1081"/>
                  </a:cubicBezTo>
                  <a:cubicBezTo>
                    <a:pt x="2755" y="976"/>
                    <a:pt x="2755" y="976"/>
                    <a:pt x="2755" y="976"/>
                  </a:cubicBezTo>
                  <a:cubicBezTo>
                    <a:pt x="2755" y="962"/>
                    <a:pt x="2743" y="951"/>
                    <a:pt x="2729" y="951"/>
                  </a:cubicBezTo>
                  <a:close/>
                  <a:moveTo>
                    <a:pt x="2530" y="951"/>
                  </a:moveTo>
                  <a:cubicBezTo>
                    <a:pt x="2425" y="951"/>
                    <a:pt x="2425" y="951"/>
                    <a:pt x="2425" y="951"/>
                  </a:cubicBezTo>
                  <a:cubicBezTo>
                    <a:pt x="2411" y="951"/>
                    <a:pt x="2400" y="962"/>
                    <a:pt x="2400" y="976"/>
                  </a:cubicBezTo>
                  <a:cubicBezTo>
                    <a:pt x="2400" y="1081"/>
                    <a:pt x="2400" y="1081"/>
                    <a:pt x="2400" y="1081"/>
                  </a:cubicBezTo>
                  <a:cubicBezTo>
                    <a:pt x="2400" y="1095"/>
                    <a:pt x="2411" y="1107"/>
                    <a:pt x="2425" y="1107"/>
                  </a:cubicBezTo>
                  <a:cubicBezTo>
                    <a:pt x="2530" y="1107"/>
                    <a:pt x="2530" y="1107"/>
                    <a:pt x="2530" y="1107"/>
                  </a:cubicBezTo>
                  <a:cubicBezTo>
                    <a:pt x="2544" y="1107"/>
                    <a:pt x="2556" y="1095"/>
                    <a:pt x="2556" y="1081"/>
                  </a:cubicBezTo>
                  <a:cubicBezTo>
                    <a:pt x="2556" y="976"/>
                    <a:pt x="2556" y="976"/>
                    <a:pt x="2556" y="976"/>
                  </a:cubicBezTo>
                  <a:cubicBezTo>
                    <a:pt x="2556" y="962"/>
                    <a:pt x="2544" y="951"/>
                    <a:pt x="2530" y="951"/>
                  </a:cubicBezTo>
                  <a:close/>
                  <a:moveTo>
                    <a:pt x="2332" y="951"/>
                  </a:moveTo>
                  <a:cubicBezTo>
                    <a:pt x="2227" y="951"/>
                    <a:pt x="2227" y="951"/>
                    <a:pt x="2227" y="951"/>
                  </a:cubicBezTo>
                  <a:cubicBezTo>
                    <a:pt x="2213" y="951"/>
                    <a:pt x="2202" y="962"/>
                    <a:pt x="2202" y="976"/>
                  </a:cubicBezTo>
                  <a:cubicBezTo>
                    <a:pt x="2202" y="1081"/>
                    <a:pt x="2202" y="1081"/>
                    <a:pt x="2202" y="1081"/>
                  </a:cubicBezTo>
                  <a:cubicBezTo>
                    <a:pt x="2202" y="1095"/>
                    <a:pt x="2213" y="1107"/>
                    <a:pt x="2227" y="1107"/>
                  </a:cubicBezTo>
                  <a:cubicBezTo>
                    <a:pt x="2332" y="1107"/>
                    <a:pt x="2332" y="1107"/>
                    <a:pt x="2332" y="1107"/>
                  </a:cubicBezTo>
                  <a:cubicBezTo>
                    <a:pt x="2346" y="1107"/>
                    <a:pt x="2358" y="1095"/>
                    <a:pt x="2358" y="1081"/>
                  </a:cubicBezTo>
                  <a:cubicBezTo>
                    <a:pt x="2358" y="976"/>
                    <a:pt x="2358" y="976"/>
                    <a:pt x="2358" y="976"/>
                  </a:cubicBezTo>
                  <a:cubicBezTo>
                    <a:pt x="2358" y="962"/>
                    <a:pt x="2346" y="951"/>
                    <a:pt x="2332" y="951"/>
                  </a:cubicBezTo>
                  <a:close/>
                  <a:moveTo>
                    <a:pt x="2132" y="951"/>
                  </a:moveTo>
                  <a:cubicBezTo>
                    <a:pt x="2026" y="951"/>
                    <a:pt x="2026" y="951"/>
                    <a:pt x="2026" y="951"/>
                  </a:cubicBezTo>
                  <a:cubicBezTo>
                    <a:pt x="2012" y="951"/>
                    <a:pt x="2001" y="962"/>
                    <a:pt x="2001" y="976"/>
                  </a:cubicBezTo>
                  <a:cubicBezTo>
                    <a:pt x="2001" y="1081"/>
                    <a:pt x="2001" y="1081"/>
                    <a:pt x="2001" y="1081"/>
                  </a:cubicBezTo>
                  <a:cubicBezTo>
                    <a:pt x="2001" y="1095"/>
                    <a:pt x="2012" y="1107"/>
                    <a:pt x="2026" y="1107"/>
                  </a:cubicBezTo>
                  <a:cubicBezTo>
                    <a:pt x="2132" y="1107"/>
                    <a:pt x="2132" y="1107"/>
                    <a:pt x="2132" y="1107"/>
                  </a:cubicBezTo>
                  <a:cubicBezTo>
                    <a:pt x="2146" y="1107"/>
                    <a:pt x="2157" y="1095"/>
                    <a:pt x="2157" y="1081"/>
                  </a:cubicBezTo>
                  <a:cubicBezTo>
                    <a:pt x="2157" y="976"/>
                    <a:pt x="2157" y="976"/>
                    <a:pt x="2157" y="976"/>
                  </a:cubicBezTo>
                  <a:cubicBezTo>
                    <a:pt x="2157" y="962"/>
                    <a:pt x="2146" y="951"/>
                    <a:pt x="2132" y="951"/>
                  </a:cubicBezTo>
                  <a:close/>
                  <a:moveTo>
                    <a:pt x="1935" y="951"/>
                  </a:moveTo>
                  <a:cubicBezTo>
                    <a:pt x="1830" y="951"/>
                    <a:pt x="1830" y="951"/>
                    <a:pt x="1830" y="951"/>
                  </a:cubicBezTo>
                  <a:cubicBezTo>
                    <a:pt x="1816" y="951"/>
                    <a:pt x="1804" y="962"/>
                    <a:pt x="1804" y="976"/>
                  </a:cubicBezTo>
                  <a:cubicBezTo>
                    <a:pt x="1804" y="1081"/>
                    <a:pt x="1804" y="1081"/>
                    <a:pt x="1804" y="1081"/>
                  </a:cubicBezTo>
                  <a:cubicBezTo>
                    <a:pt x="1804" y="1095"/>
                    <a:pt x="1816" y="1107"/>
                    <a:pt x="1830" y="1107"/>
                  </a:cubicBezTo>
                  <a:cubicBezTo>
                    <a:pt x="1935" y="1107"/>
                    <a:pt x="1935" y="1107"/>
                    <a:pt x="1935" y="1107"/>
                  </a:cubicBezTo>
                  <a:cubicBezTo>
                    <a:pt x="1949" y="1107"/>
                    <a:pt x="1960" y="1095"/>
                    <a:pt x="1960" y="1081"/>
                  </a:cubicBezTo>
                  <a:cubicBezTo>
                    <a:pt x="1960" y="976"/>
                    <a:pt x="1960" y="976"/>
                    <a:pt x="1960" y="976"/>
                  </a:cubicBezTo>
                  <a:cubicBezTo>
                    <a:pt x="1960" y="962"/>
                    <a:pt x="1949" y="951"/>
                    <a:pt x="1935" y="951"/>
                  </a:cubicBezTo>
                  <a:close/>
                  <a:moveTo>
                    <a:pt x="1734" y="951"/>
                  </a:moveTo>
                  <a:cubicBezTo>
                    <a:pt x="1629" y="951"/>
                    <a:pt x="1629" y="951"/>
                    <a:pt x="1629" y="951"/>
                  </a:cubicBezTo>
                  <a:cubicBezTo>
                    <a:pt x="1615" y="951"/>
                    <a:pt x="1603" y="962"/>
                    <a:pt x="1603" y="976"/>
                  </a:cubicBezTo>
                  <a:cubicBezTo>
                    <a:pt x="1603" y="1081"/>
                    <a:pt x="1603" y="1081"/>
                    <a:pt x="1603" y="1081"/>
                  </a:cubicBezTo>
                  <a:cubicBezTo>
                    <a:pt x="1603" y="1095"/>
                    <a:pt x="1615" y="1107"/>
                    <a:pt x="1629" y="1107"/>
                  </a:cubicBezTo>
                  <a:cubicBezTo>
                    <a:pt x="1734" y="1107"/>
                    <a:pt x="1734" y="1107"/>
                    <a:pt x="1734" y="1107"/>
                  </a:cubicBezTo>
                  <a:cubicBezTo>
                    <a:pt x="1748" y="1107"/>
                    <a:pt x="1759" y="1095"/>
                    <a:pt x="1759" y="1081"/>
                  </a:cubicBezTo>
                  <a:cubicBezTo>
                    <a:pt x="1759" y="976"/>
                    <a:pt x="1759" y="976"/>
                    <a:pt x="1759" y="976"/>
                  </a:cubicBezTo>
                  <a:cubicBezTo>
                    <a:pt x="1759" y="962"/>
                    <a:pt x="1748" y="951"/>
                    <a:pt x="1734" y="951"/>
                  </a:cubicBezTo>
                  <a:close/>
                  <a:moveTo>
                    <a:pt x="1535" y="951"/>
                  </a:moveTo>
                  <a:cubicBezTo>
                    <a:pt x="1430" y="951"/>
                    <a:pt x="1430" y="951"/>
                    <a:pt x="1430" y="951"/>
                  </a:cubicBezTo>
                  <a:cubicBezTo>
                    <a:pt x="1416" y="951"/>
                    <a:pt x="1404" y="962"/>
                    <a:pt x="1404" y="976"/>
                  </a:cubicBezTo>
                  <a:cubicBezTo>
                    <a:pt x="1404" y="1081"/>
                    <a:pt x="1404" y="1081"/>
                    <a:pt x="1404" y="1081"/>
                  </a:cubicBezTo>
                  <a:cubicBezTo>
                    <a:pt x="1404" y="1095"/>
                    <a:pt x="1416" y="1107"/>
                    <a:pt x="1430" y="1107"/>
                  </a:cubicBezTo>
                  <a:cubicBezTo>
                    <a:pt x="1535" y="1107"/>
                    <a:pt x="1535" y="1107"/>
                    <a:pt x="1535" y="1107"/>
                  </a:cubicBezTo>
                  <a:cubicBezTo>
                    <a:pt x="1549" y="1107"/>
                    <a:pt x="1560" y="1095"/>
                    <a:pt x="1560" y="1081"/>
                  </a:cubicBezTo>
                  <a:cubicBezTo>
                    <a:pt x="1560" y="976"/>
                    <a:pt x="1560" y="976"/>
                    <a:pt x="1560" y="976"/>
                  </a:cubicBezTo>
                  <a:cubicBezTo>
                    <a:pt x="1560" y="962"/>
                    <a:pt x="1549" y="951"/>
                    <a:pt x="1535" y="951"/>
                  </a:cubicBezTo>
                  <a:close/>
                  <a:moveTo>
                    <a:pt x="1336" y="951"/>
                  </a:moveTo>
                  <a:cubicBezTo>
                    <a:pt x="1231" y="951"/>
                    <a:pt x="1231" y="951"/>
                    <a:pt x="1231" y="951"/>
                  </a:cubicBezTo>
                  <a:cubicBezTo>
                    <a:pt x="1217" y="951"/>
                    <a:pt x="1206" y="962"/>
                    <a:pt x="1206" y="976"/>
                  </a:cubicBezTo>
                  <a:cubicBezTo>
                    <a:pt x="1206" y="1081"/>
                    <a:pt x="1206" y="1081"/>
                    <a:pt x="1206" y="1081"/>
                  </a:cubicBezTo>
                  <a:cubicBezTo>
                    <a:pt x="1206" y="1095"/>
                    <a:pt x="1217" y="1107"/>
                    <a:pt x="1231" y="1107"/>
                  </a:cubicBezTo>
                  <a:cubicBezTo>
                    <a:pt x="1336" y="1107"/>
                    <a:pt x="1336" y="1107"/>
                    <a:pt x="1336" y="1107"/>
                  </a:cubicBezTo>
                  <a:cubicBezTo>
                    <a:pt x="1350" y="1107"/>
                    <a:pt x="1362" y="1095"/>
                    <a:pt x="1362" y="1081"/>
                  </a:cubicBezTo>
                  <a:cubicBezTo>
                    <a:pt x="1362" y="976"/>
                    <a:pt x="1362" y="976"/>
                    <a:pt x="1362" y="976"/>
                  </a:cubicBezTo>
                  <a:cubicBezTo>
                    <a:pt x="1362" y="962"/>
                    <a:pt x="1350" y="951"/>
                    <a:pt x="1336" y="951"/>
                  </a:cubicBezTo>
                  <a:close/>
                  <a:moveTo>
                    <a:pt x="1140" y="951"/>
                  </a:moveTo>
                  <a:cubicBezTo>
                    <a:pt x="1035" y="951"/>
                    <a:pt x="1035" y="951"/>
                    <a:pt x="1035" y="951"/>
                  </a:cubicBezTo>
                  <a:cubicBezTo>
                    <a:pt x="1020" y="951"/>
                    <a:pt x="1009" y="962"/>
                    <a:pt x="1009" y="976"/>
                  </a:cubicBezTo>
                  <a:cubicBezTo>
                    <a:pt x="1009" y="1081"/>
                    <a:pt x="1009" y="1081"/>
                    <a:pt x="1009" y="1081"/>
                  </a:cubicBezTo>
                  <a:cubicBezTo>
                    <a:pt x="1009" y="1095"/>
                    <a:pt x="1020" y="1107"/>
                    <a:pt x="1035" y="1107"/>
                  </a:cubicBezTo>
                  <a:cubicBezTo>
                    <a:pt x="1140" y="1107"/>
                    <a:pt x="1140" y="1107"/>
                    <a:pt x="1140" y="1107"/>
                  </a:cubicBezTo>
                  <a:cubicBezTo>
                    <a:pt x="1154" y="1107"/>
                    <a:pt x="1165" y="1095"/>
                    <a:pt x="1165" y="1081"/>
                  </a:cubicBezTo>
                  <a:cubicBezTo>
                    <a:pt x="1165" y="976"/>
                    <a:pt x="1165" y="976"/>
                    <a:pt x="1165" y="976"/>
                  </a:cubicBezTo>
                  <a:cubicBezTo>
                    <a:pt x="1165" y="962"/>
                    <a:pt x="1154" y="951"/>
                    <a:pt x="1140" y="951"/>
                  </a:cubicBezTo>
                  <a:close/>
                  <a:moveTo>
                    <a:pt x="940" y="951"/>
                  </a:moveTo>
                  <a:cubicBezTo>
                    <a:pt x="835" y="951"/>
                    <a:pt x="835" y="951"/>
                    <a:pt x="835" y="951"/>
                  </a:cubicBezTo>
                  <a:cubicBezTo>
                    <a:pt x="821" y="951"/>
                    <a:pt x="809" y="962"/>
                    <a:pt x="809" y="976"/>
                  </a:cubicBezTo>
                  <a:cubicBezTo>
                    <a:pt x="809" y="1081"/>
                    <a:pt x="809" y="1081"/>
                    <a:pt x="809" y="1081"/>
                  </a:cubicBezTo>
                  <a:cubicBezTo>
                    <a:pt x="809" y="1095"/>
                    <a:pt x="821" y="1107"/>
                    <a:pt x="835" y="1107"/>
                  </a:cubicBezTo>
                  <a:cubicBezTo>
                    <a:pt x="940" y="1107"/>
                    <a:pt x="940" y="1107"/>
                    <a:pt x="940" y="1107"/>
                  </a:cubicBezTo>
                  <a:cubicBezTo>
                    <a:pt x="954" y="1107"/>
                    <a:pt x="965" y="1095"/>
                    <a:pt x="965" y="1081"/>
                  </a:cubicBezTo>
                  <a:cubicBezTo>
                    <a:pt x="965" y="976"/>
                    <a:pt x="965" y="976"/>
                    <a:pt x="965" y="976"/>
                  </a:cubicBezTo>
                  <a:cubicBezTo>
                    <a:pt x="965" y="962"/>
                    <a:pt x="954" y="951"/>
                    <a:pt x="940" y="951"/>
                  </a:cubicBezTo>
                  <a:close/>
                  <a:moveTo>
                    <a:pt x="738" y="951"/>
                  </a:moveTo>
                  <a:cubicBezTo>
                    <a:pt x="633" y="951"/>
                    <a:pt x="633" y="951"/>
                    <a:pt x="633" y="951"/>
                  </a:cubicBezTo>
                  <a:cubicBezTo>
                    <a:pt x="619" y="951"/>
                    <a:pt x="607" y="962"/>
                    <a:pt x="607" y="976"/>
                  </a:cubicBezTo>
                  <a:cubicBezTo>
                    <a:pt x="607" y="1081"/>
                    <a:pt x="607" y="1081"/>
                    <a:pt x="607" y="1081"/>
                  </a:cubicBezTo>
                  <a:cubicBezTo>
                    <a:pt x="607" y="1095"/>
                    <a:pt x="619" y="1107"/>
                    <a:pt x="633" y="1107"/>
                  </a:cubicBezTo>
                  <a:cubicBezTo>
                    <a:pt x="738" y="1107"/>
                    <a:pt x="738" y="1107"/>
                    <a:pt x="738" y="1107"/>
                  </a:cubicBezTo>
                  <a:cubicBezTo>
                    <a:pt x="752" y="1107"/>
                    <a:pt x="763" y="1095"/>
                    <a:pt x="763" y="1081"/>
                  </a:cubicBezTo>
                  <a:cubicBezTo>
                    <a:pt x="763" y="976"/>
                    <a:pt x="763" y="976"/>
                    <a:pt x="763" y="976"/>
                  </a:cubicBezTo>
                  <a:cubicBezTo>
                    <a:pt x="763" y="962"/>
                    <a:pt x="752" y="951"/>
                    <a:pt x="738" y="951"/>
                  </a:cubicBezTo>
                  <a:close/>
                  <a:moveTo>
                    <a:pt x="538" y="951"/>
                  </a:moveTo>
                  <a:cubicBezTo>
                    <a:pt x="433" y="951"/>
                    <a:pt x="433" y="951"/>
                    <a:pt x="433" y="951"/>
                  </a:cubicBezTo>
                  <a:cubicBezTo>
                    <a:pt x="419" y="951"/>
                    <a:pt x="408" y="962"/>
                    <a:pt x="408" y="976"/>
                  </a:cubicBezTo>
                  <a:cubicBezTo>
                    <a:pt x="408" y="1081"/>
                    <a:pt x="408" y="1081"/>
                    <a:pt x="408" y="1081"/>
                  </a:cubicBezTo>
                  <a:cubicBezTo>
                    <a:pt x="408" y="1095"/>
                    <a:pt x="419" y="1107"/>
                    <a:pt x="433" y="1107"/>
                  </a:cubicBezTo>
                  <a:cubicBezTo>
                    <a:pt x="538" y="1107"/>
                    <a:pt x="538" y="1107"/>
                    <a:pt x="538" y="1107"/>
                  </a:cubicBezTo>
                  <a:cubicBezTo>
                    <a:pt x="553" y="1107"/>
                    <a:pt x="564" y="1095"/>
                    <a:pt x="564" y="1081"/>
                  </a:cubicBezTo>
                  <a:cubicBezTo>
                    <a:pt x="564" y="976"/>
                    <a:pt x="564" y="976"/>
                    <a:pt x="564" y="976"/>
                  </a:cubicBezTo>
                  <a:cubicBezTo>
                    <a:pt x="564" y="962"/>
                    <a:pt x="553" y="951"/>
                    <a:pt x="538" y="951"/>
                  </a:cubicBezTo>
                  <a:close/>
                  <a:moveTo>
                    <a:pt x="337" y="951"/>
                  </a:moveTo>
                  <a:cubicBezTo>
                    <a:pt x="232" y="951"/>
                    <a:pt x="232" y="951"/>
                    <a:pt x="232" y="951"/>
                  </a:cubicBezTo>
                  <a:cubicBezTo>
                    <a:pt x="218" y="951"/>
                    <a:pt x="207" y="962"/>
                    <a:pt x="207" y="976"/>
                  </a:cubicBezTo>
                  <a:cubicBezTo>
                    <a:pt x="207" y="1081"/>
                    <a:pt x="207" y="1081"/>
                    <a:pt x="207" y="1081"/>
                  </a:cubicBezTo>
                  <a:cubicBezTo>
                    <a:pt x="207" y="1095"/>
                    <a:pt x="218" y="1107"/>
                    <a:pt x="232" y="1107"/>
                  </a:cubicBezTo>
                  <a:cubicBezTo>
                    <a:pt x="337" y="1107"/>
                    <a:pt x="337" y="1107"/>
                    <a:pt x="337" y="1107"/>
                  </a:cubicBezTo>
                  <a:cubicBezTo>
                    <a:pt x="351" y="1107"/>
                    <a:pt x="363" y="1095"/>
                    <a:pt x="363" y="1081"/>
                  </a:cubicBezTo>
                  <a:cubicBezTo>
                    <a:pt x="363" y="976"/>
                    <a:pt x="363" y="976"/>
                    <a:pt x="363" y="976"/>
                  </a:cubicBezTo>
                  <a:cubicBezTo>
                    <a:pt x="363" y="962"/>
                    <a:pt x="351" y="951"/>
                    <a:pt x="337" y="951"/>
                  </a:cubicBezTo>
                  <a:close/>
                  <a:moveTo>
                    <a:pt x="141" y="951"/>
                  </a:moveTo>
                  <a:cubicBezTo>
                    <a:pt x="36" y="951"/>
                    <a:pt x="36" y="951"/>
                    <a:pt x="36" y="951"/>
                  </a:cubicBezTo>
                  <a:cubicBezTo>
                    <a:pt x="22" y="951"/>
                    <a:pt x="10" y="962"/>
                    <a:pt x="10" y="976"/>
                  </a:cubicBezTo>
                  <a:cubicBezTo>
                    <a:pt x="10" y="1081"/>
                    <a:pt x="10" y="1081"/>
                    <a:pt x="10" y="1081"/>
                  </a:cubicBezTo>
                  <a:cubicBezTo>
                    <a:pt x="10" y="1095"/>
                    <a:pt x="22" y="1107"/>
                    <a:pt x="36" y="1107"/>
                  </a:cubicBezTo>
                  <a:cubicBezTo>
                    <a:pt x="141" y="1107"/>
                    <a:pt x="141" y="1107"/>
                    <a:pt x="141" y="1107"/>
                  </a:cubicBezTo>
                  <a:cubicBezTo>
                    <a:pt x="155" y="1107"/>
                    <a:pt x="166" y="1095"/>
                    <a:pt x="166" y="1081"/>
                  </a:cubicBezTo>
                  <a:cubicBezTo>
                    <a:pt x="166" y="976"/>
                    <a:pt x="166" y="976"/>
                    <a:pt x="166" y="976"/>
                  </a:cubicBezTo>
                  <a:cubicBezTo>
                    <a:pt x="166" y="962"/>
                    <a:pt x="155" y="951"/>
                    <a:pt x="141" y="951"/>
                  </a:cubicBezTo>
                  <a:close/>
                  <a:moveTo>
                    <a:pt x="2929" y="759"/>
                  </a:moveTo>
                  <a:cubicBezTo>
                    <a:pt x="2824" y="759"/>
                    <a:pt x="2824" y="759"/>
                    <a:pt x="2824" y="759"/>
                  </a:cubicBezTo>
                  <a:cubicBezTo>
                    <a:pt x="2810" y="759"/>
                    <a:pt x="2798" y="770"/>
                    <a:pt x="2798" y="784"/>
                  </a:cubicBezTo>
                  <a:cubicBezTo>
                    <a:pt x="2798" y="890"/>
                    <a:pt x="2798" y="890"/>
                    <a:pt x="2798" y="890"/>
                  </a:cubicBezTo>
                  <a:cubicBezTo>
                    <a:pt x="2798" y="904"/>
                    <a:pt x="2810" y="915"/>
                    <a:pt x="2824" y="915"/>
                  </a:cubicBezTo>
                  <a:cubicBezTo>
                    <a:pt x="2929" y="915"/>
                    <a:pt x="2929" y="915"/>
                    <a:pt x="2929" y="915"/>
                  </a:cubicBezTo>
                  <a:cubicBezTo>
                    <a:pt x="2943" y="915"/>
                    <a:pt x="2954" y="904"/>
                    <a:pt x="2954" y="890"/>
                  </a:cubicBezTo>
                  <a:cubicBezTo>
                    <a:pt x="2954" y="784"/>
                    <a:pt x="2954" y="784"/>
                    <a:pt x="2954" y="784"/>
                  </a:cubicBezTo>
                  <a:cubicBezTo>
                    <a:pt x="2954" y="770"/>
                    <a:pt x="2943" y="759"/>
                    <a:pt x="2929" y="759"/>
                  </a:cubicBezTo>
                  <a:close/>
                  <a:moveTo>
                    <a:pt x="2729" y="759"/>
                  </a:moveTo>
                  <a:cubicBezTo>
                    <a:pt x="2624" y="759"/>
                    <a:pt x="2624" y="759"/>
                    <a:pt x="2624" y="759"/>
                  </a:cubicBezTo>
                  <a:cubicBezTo>
                    <a:pt x="2610" y="759"/>
                    <a:pt x="2599" y="770"/>
                    <a:pt x="2599" y="784"/>
                  </a:cubicBezTo>
                  <a:cubicBezTo>
                    <a:pt x="2599" y="890"/>
                    <a:pt x="2599" y="890"/>
                    <a:pt x="2599" y="890"/>
                  </a:cubicBezTo>
                  <a:cubicBezTo>
                    <a:pt x="2599" y="904"/>
                    <a:pt x="2610" y="915"/>
                    <a:pt x="2624" y="915"/>
                  </a:cubicBezTo>
                  <a:cubicBezTo>
                    <a:pt x="2729" y="915"/>
                    <a:pt x="2729" y="915"/>
                    <a:pt x="2729" y="915"/>
                  </a:cubicBezTo>
                  <a:cubicBezTo>
                    <a:pt x="2743" y="915"/>
                    <a:pt x="2755" y="904"/>
                    <a:pt x="2755" y="890"/>
                  </a:cubicBezTo>
                  <a:cubicBezTo>
                    <a:pt x="2755" y="784"/>
                    <a:pt x="2755" y="784"/>
                    <a:pt x="2755" y="784"/>
                  </a:cubicBezTo>
                  <a:cubicBezTo>
                    <a:pt x="2755" y="770"/>
                    <a:pt x="2743" y="759"/>
                    <a:pt x="2729" y="759"/>
                  </a:cubicBezTo>
                  <a:close/>
                  <a:moveTo>
                    <a:pt x="2530" y="759"/>
                  </a:moveTo>
                  <a:cubicBezTo>
                    <a:pt x="2425" y="759"/>
                    <a:pt x="2425" y="759"/>
                    <a:pt x="2425" y="759"/>
                  </a:cubicBezTo>
                  <a:cubicBezTo>
                    <a:pt x="2411" y="759"/>
                    <a:pt x="2400" y="770"/>
                    <a:pt x="2400" y="784"/>
                  </a:cubicBezTo>
                  <a:cubicBezTo>
                    <a:pt x="2400" y="890"/>
                    <a:pt x="2400" y="890"/>
                    <a:pt x="2400" y="890"/>
                  </a:cubicBezTo>
                  <a:cubicBezTo>
                    <a:pt x="2400" y="904"/>
                    <a:pt x="2411" y="915"/>
                    <a:pt x="2425" y="915"/>
                  </a:cubicBezTo>
                  <a:cubicBezTo>
                    <a:pt x="2530" y="915"/>
                    <a:pt x="2530" y="915"/>
                    <a:pt x="2530" y="915"/>
                  </a:cubicBezTo>
                  <a:cubicBezTo>
                    <a:pt x="2544" y="915"/>
                    <a:pt x="2556" y="904"/>
                    <a:pt x="2556" y="890"/>
                  </a:cubicBezTo>
                  <a:cubicBezTo>
                    <a:pt x="2556" y="784"/>
                    <a:pt x="2556" y="784"/>
                    <a:pt x="2556" y="784"/>
                  </a:cubicBezTo>
                  <a:cubicBezTo>
                    <a:pt x="2556" y="770"/>
                    <a:pt x="2544" y="759"/>
                    <a:pt x="2530" y="759"/>
                  </a:cubicBezTo>
                  <a:close/>
                  <a:moveTo>
                    <a:pt x="2332" y="759"/>
                  </a:moveTo>
                  <a:cubicBezTo>
                    <a:pt x="2227" y="759"/>
                    <a:pt x="2227" y="759"/>
                    <a:pt x="2227" y="759"/>
                  </a:cubicBezTo>
                  <a:cubicBezTo>
                    <a:pt x="2213" y="759"/>
                    <a:pt x="2202" y="770"/>
                    <a:pt x="2202" y="784"/>
                  </a:cubicBezTo>
                  <a:cubicBezTo>
                    <a:pt x="2202" y="890"/>
                    <a:pt x="2202" y="890"/>
                    <a:pt x="2202" y="890"/>
                  </a:cubicBezTo>
                  <a:cubicBezTo>
                    <a:pt x="2202" y="904"/>
                    <a:pt x="2213" y="915"/>
                    <a:pt x="2227" y="915"/>
                  </a:cubicBezTo>
                  <a:cubicBezTo>
                    <a:pt x="2332" y="915"/>
                    <a:pt x="2332" y="915"/>
                    <a:pt x="2332" y="915"/>
                  </a:cubicBezTo>
                  <a:cubicBezTo>
                    <a:pt x="2346" y="915"/>
                    <a:pt x="2358" y="904"/>
                    <a:pt x="2358" y="890"/>
                  </a:cubicBezTo>
                  <a:cubicBezTo>
                    <a:pt x="2358" y="784"/>
                    <a:pt x="2358" y="784"/>
                    <a:pt x="2358" y="784"/>
                  </a:cubicBezTo>
                  <a:cubicBezTo>
                    <a:pt x="2358" y="770"/>
                    <a:pt x="2346" y="759"/>
                    <a:pt x="2332" y="759"/>
                  </a:cubicBezTo>
                  <a:close/>
                  <a:moveTo>
                    <a:pt x="2132" y="759"/>
                  </a:moveTo>
                  <a:cubicBezTo>
                    <a:pt x="2026" y="759"/>
                    <a:pt x="2026" y="759"/>
                    <a:pt x="2026" y="759"/>
                  </a:cubicBezTo>
                  <a:cubicBezTo>
                    <a:pt x="2012" y="759"/>
                    <a:pt x="2001" y="770"/>
                    <a:pt x="2001" y="784"/>
                  </a:cubicBezTo>
                  <a:cubicBezTo>
                    <a:pt x="2001" y="890"/>
                    <a:pt x="2001" y="890"/>
                    <a:pt x="2001" y="890"/>
                  </a:cubicBezTo>
                  <a:cubicBezTo>
                    <a:pt x="2001" y="904"/>
                    <a:pt x="2012" y="915"/>
                    <a:pt x="2026" y="915"/>
                  </a:cubicBezTo>
                  <a:cubicBezTo>
                    <a:pt x="2132" y="915"/>
                    <a:pt x="2132" y="915"/>
                    <a:pt x="2132" y="915"/>
                  </a:cubicBezTo>
                  <a:cubicBezTo>
                    <a:pt x="2146" y="915"/>
                    <a:pt x="2157" y="904"/>
                    <a:pt x="2157" y="890"/>
                  </a:cubicBezTo>
                  <a:cubicBezTo>
                    <a:pt x="2157" y="784"/>
                    <a:pt x="2157" y="784"/>
                    <a:pt x="2157" y="784"/>
                  </a:cubicBezTo>
                  <a:cubicBezTo>
                    <a:pt x="2157" y="770"/>
                    <a:pt x="2146" y="759"/>
                    <a:pt x="2132" y="759"/>
                  </a:cubicBezTo>
                  <a:close/>
                  <a:moveTo>
                    <a:pt x="1935" y="759"/>
                  </a:moveTo>
                  <a:cubicBezTo>
                    <a:pt x="1830" y="759"/>
                    <a:pt x="1830" y="759"/>
                    <a:pt x="1830" y="759"/>
                  </a:cubicBezTo>
                  <a:cubicBezTo>
                    <a:pt x="1816" y="759"/>
                    <a:pt x="1804" y="770"/>
                    <a:pt x="1804" y="784"/>
                  </a:cubicBezTo>
                  <a:cubicBezTo>
                    <a:pt x="1804" y="890"/>
                    <a:pt x="1804" y="890"/>
                    <a:pt x="1804" y="890"/>
                  </a:cubicBezTo>
                  <a:cubicBezTo>
                    <a:pt x="1804" y="904"/>
                    <a:pt x="1816" y="915"/>
                    <a:pt x="1830" y="915"/>
                  </a:cubicBezTo>
                  <a:cubicBezTo>
                    <a:pt x="1935" y="915"/>
                    <a:pt x="1935" y="915"/>
                    <a:pt x="1935" y="915"/>
                  </a:cubicBezTo>
                  <a:cubicBezTo>
                    <a:pt x="1949" y="915"/>
                    <a:pt x="1960" y="904"/>
                    <a:pt x="1960" y="890"/>
                  </a:cubicBezTo>
                  <a:cubicBezTo>
                    <a:pt x="1960" y="784"/>
                    <a:pt x="1960" y="784"/>
                    <a:pt x="1960" y="784"/>
                  </a:cubicBezTo>
                  <a:cubicBezTo>
                    <a:pt x="1960" y="770"/>
                    <a:pt x="1949" y="759"/>
                    <a:pt x="1935" y="759"/>
                  </a:cubicBezTo>
                  <a:close/>
                  <a:moveTo>
                    <a:pt x="1734" y="759"/>
                  </a:moveTo>
                  <a:cubicBezTo>
                    <a:pt x="1629" y="759"/>
                    <a:pt x="1629" y="759"/>
                    <a:pt x="1629" y="759"/>
                  </a:cubicBezTo>
                  <a:cubicBezTo>
                    <a:pt x="1615" y="759"/>
                    <a:pt x="1603" y="770"/>
                    <a:pt x="1603" y="784"/>
                  </a:cubicBezTo>
                  <a:cubicBezTo>
                    <a:pt x="1603" y="890"/>
                    <a:pt x="1603" y="890"/>
                    <a:pt x="1603" y="890"/>
                  </a:cubicBezTo>
                  <a:cubicBezTo>
                    <a:pt x="1603" y="904"/>
                    <a:pt x="1615" y="915"/>
                    <a:pt x="1629" y="915"/>
                  </a:cubicBezTo>
                  <a:cubicBezTo>
                    <a:pt x="1734" y="915"/>
                    <a:pt x="1734" y="915"/>
                    <a:pt x="1734" y="915"/>
                  </a:cubicBezTo>
                  <a:cubicBezTo>
                    <a:pt x="1748" y="915"/>
                    <a:pt x="1759" y="904"/>
                    <a:pt x="1759" y="890"/>
                  </a:cubicBezTo>
                  <a:cubicBezTo>
                    <a:pt x="1759" y="784"/>
                    <a:pt x="1759" y="784"/>
                    <a:pt x="1759" y="784"/>
                  </a:cubicBezTo>
                  <a:cubicBezTo>
                    <a:pt x="1759" y="770"/>
                    <a:pt x="1748" y="759"/>
                    <a:pt x="1734" y="759"/>
                  </a:cubicBezTo>
                  <a:close/>
                  <a:moveTo>
                    <a:pt x="1535" y="759"/>
                  </a:moveTo>
                  <a:cubicBezTo>
                    <a:pt x="1430" y="759"/>
                    <a:pt x="1430" y="759"/>
                    <a:pt x="1430" y="759"/>
                  </a:cubicBezTo>
                  <a:cubicBezTo>
                    <a:pt x="1416" y="759"/>
                    <a:pt x="1404" y="770"/>
                    <a:pt x="1404" y="784"/>
                  </a:cubicBezTo>
                  <a:cubicBezTo>
                    <a:pt x="1404" y="890"/>
                    <a:pt x="1404" y="890"/>
                    <a:pt x="1404" y="890"/>
                  </a:cubicBezTo>
                  <a:cubicBezTo>
                    <a:pt x="1404" y="904"/>
                    <a:pt x="1416" y="915"/>
                    <a:pt x="1430" y="915"/>
                  </a:cubicBezTo>
                  <a:cubicBezTo>
                    <a:pt x="1535" y="915"/>
                    <a:pt x="1535" y="915"/>
                    <a:pt x="1535" y="915"/>
                  </a:cubicBezTo>
                  <a:cubicBezTo>
                    <a:pt x="1549" y="915"/>
                    <a:pt x="1560" y="904"/>
                    <a:pt x="1560" y="890"/>
                  </a:cubicBezTo>
                  <a:cubicBezTo>
                    <a:pt x="1560" y="784"/>
                    <a:pt x="1560" y="784"/>
                    <a:pt x="1560" y="784"/>
                  </a:cubicBezTo>
                  <a:cubicBezTo>
                    <a:pt x="1560" y="770"/>
                    <a:pt x="1549" y="759"/>
                    <a:pt x="1535" y="759"/>
                  </a:cubicBezTo>
                  <a:close/>
                  <a:moveTo>
                    <a:pt x="1336" y="759"/>
                  </a:moveTo>
                  <a:cubicBezTo>
                    <a:pt x="1231" y="759"/>
                    <a:pt x="1231" y="759"/>
                    <a:pt x="1231" y="759"/>
                  </a:cubicBezTo>
                  <a:cubicBezTo>
                    <a:pt x="1217" y="759"/>
                    <a:pt x="1206" y="770"/>
                    <a:pt x="1206" y="784"/>
                  </a:cubicBezTo>
                  <a:cubicBezTo>
                    <a:pt x="1206" y="890"/>
                    <a:pt x="1206" y="890"/>
                    <a:pt x="1206" y="890"/>
                  </a:cubicBezTo>
                  <a:cubicBezTo>
                    <a:pt x="1206" y="904"/>
                    <a:pt x="1217" y="915"/>
                    <a:pt x="1231" y="915"/>
                  </a:cubicBezTo>
                  <a:cubicBezTo>
                    <a:pt x="1336" y="915"/>
                    <a:pt x="1336" y="915"/>
                    <a:pt x="1336" y="915"/>
                  </a:cubicBezTo>
                  <a:cubicBezTo>
                    <a:pt x="1350" y="915"/>
                    <a:pt x="1362" y="904"/>
                    <a:pt x="1362" y="890"/>
                  </a:cubicBezTo>
                  <a:cubicBezTo>
                    <a:pt x="1362" y="784"/>
                    <a:pt x="1362" y="784"/>
                    <a:pt x="1362" y="784"/>
                  </a:cubicBezTo>
                  <a:cubicBezTo>
                    <a:pt x="1362" y="770"/>
                    <a:pt x="1350" y="759"/>
                    <a:pt x="1336" y="759"/>
                  </a:cubicBezTo>
                  <a:close/>
                  <a:moveTo>
                    <a:pt x="1140" y="759"/>
                  </a:moveTo>
                  <a:cubicBezTo>
                    <a:pt x="1035" y="759"/>
                    <a:pt x="1035" y="759"/>
                    <a:pt x="1035" y="759"/>
                  </a:cubicBezTo>
                  <a:cubicBezTo>
                    <a:pt x="1020" y="759"/>
                    <a:pt x="1009" y="770"/>
                    <a:pt x="1009" y="784"/>
                  </a:cubicBezTo>
                  <a:cubicBezTo>
                    <a:pt x="1009" y="890"/>
                    <a:pt x="1009" y="890"/>
                    <a:pt x="1009" y="890"/>
                  </a:cubicBezTo>
                  <a:cubicBezTo>
                    <a:pt x="1009" y="904"/>
                    <a:pt x="1020" y="915"/>
                    <a:pt x="1035" y="915"/>
                  </a:cubicBezTo>
                  <a:cubicBezTo>
                    <a:pt x="1140" y="915"/>
                    <a:pt x="1140" y="915"/>
                    <a:pt x="1140" y="915"/>
                  </a:cubicBezTo>
                  <a:cubicBezTo>
                    <a:pt x="1154" y="915"/>
                    <a:pt x="1165" y="904"/>
                    <a:pt x="1165" y="890"/>
                  </a:cubicBezTo>
                  <a:cubicBezTo>
                    <a:pt x="1165" y="784"/>
                    <a:pt x="1165" y="784"/>
                    <a:pt x="1165" y="784"/>
                  </a:cubicBezTo>
                  <a:cubicBezTo>
                    <a:pt x="1165" y="770"/>
                    <a:pt x="1154" y="759"/>
                    <a:pt x="1140" y="759"/>
                  </a:cubicBezTo>
                  <a:close/>
                  <a:moveTo>
                    <a:pt x="940" y="759"/>
                  </a:moveTo>
                  <a:cubicBezTo>
                    <a:pt x="835" y="759"/>
                    <a:pt x="835" y="759"/>
                    <a:pt x="835" y="759"/>
                  </a:cubicBezTo>
                  <a:cubicBezTo>
                    <a:pt x="821" y="759"/>
                    <a:pt x="809" y="770"/>
                    <a:pt x="809" y="784"/>
                  </a:cubicBezTo>
                  <a:cubicBezTo>
                    <a:pt x="809" y="890"/>
                    <a:pt x="809" y="890"/>
                    <a:pt x="809" y="890"/>
                  </a:cubicBezTo>
                  <a:cubicBezTo>
                    <a:pt x="809" y="904"/>
                    <a:pt x="821" y="915"/>
                    <a:pt x="835" y="915"/>
                  </a:cubicBezTo>
                  <a:cubicBezTo>
                    <a:pt x="940" y="915"/>
                    <a:pt x="940" y="915"/>
                    <a:pt x="940" y="915"/>
                  </a:cubicBezTo>
                  <a:cubicBezTo>
                    <a:pt x="954" y="915"/>
                    <a:pt x="965" y="904"/>
                    <a:pt x="965" y="890"/>
                  </a:cubicBezTo>
                  <a:cubicBezTo>
                    <a:pt x="965" y="784"/>
                    <a:pt x="965" y="784"/>
                    <a:pt x="965" y="784"/>
                  </a:cubicBezTo>
                  <a:cubicBezTo>
                    <a:pt x="965" y="770"/>
                    <a:pt x="954" y="759"/>
                    <a:pt x="940" y="759"/>
                  </a:cubicBezTo>
                  <a:close/>
                  <a:moveTo>
                    <a:pt x="738" y="759"/>
                  </a:moveTo>
                  <a:cubicBezTo>
                    <a:pt x="633" y="759"/>
                    <a:pt x="633" y="759"/>
                    <a:pt x="633" y="759"/>
                  </a:cubicBezTo>
                  <a:cubicBezTo>
                    <a:pt x="619" y="759"/>
                    <a:pt x="607" y="770"/>
                    <a:pt x="607" y="784"/>
                  </a:cubicBezTo>
                  <a:cubicBezTo>
                    <a:pt x="607" y="890"/>
                    <a:pt x="607" y="890"/>
                    <a:pt x="607" y="890"/>
                  </a:cubicBezTo>
                  <a:cubicBezTo>
                    <a:pt x="607" y="904"/>
                    <a:pt x="619" y="915"/>
                    <a:pt x="633" y="915"/>
                  </a:cubicBezTo>
                  <a:cubicBezTo>
                    <a:pt x="738" y="915"/>
                    <a:pt x="738" y="915"/>
                    <a:pt x="738" y="915"/>
                  </a:cubicBezTo>
                  <a:cubicBezTo>
                    <a:pt x="752" y="915"/>
                    <a:pt x="763" y="904"/>
                    <a:pt x="763" y="890"/>
                  </a:cubicBezTo>
                  <a:cubicBezTo>
                    <a:pt x="763" y="784"/>
                    <a:pt x="763" y="784"/>
                    <a:pt x="763" y="784"/>
                  </a:cubicBezTo>
                  <a:cubicBezTo>
                    <a:pt x="763" y="770"/>
                    <a:pt x="752" y="759"/>
                    <a:pt x="738" y="759"/>
                  </a:cubicBezTo>
                  <a:close/>
                  <a:moveTo>
                    <a:pt x="538" y="759"/>
                  </a:moveTo>
                  <a:cubicBezTo>
                    <a:pt x="433" y="759"/>
                    <a:pt x="433" y="759"/>
                    <a:pt x="433" y="759"/>
                  </a:cubicBezTo>
                  <a:cubicBezTo>
                    <a:pt x="419" y="759"/>
                    <a:pt x="408" y="770"/>
                    <a:pt x="408" y="784"/>
                  </a:cubicBezTo>
                  <a:cubicBezTo>
                    <a:pt x="408" y="890"/>
                    <a:pt x="408" y="890"/>
                    <a:pt x="408" y="890"/>
                  </a:cubicBezTo>
                  <a:cubicBezTo>
                    <a:pt x="408" y="904"/>
                    <a:pt x="419" y="915"/>
                    <a:pt x="433" y="915"/>
                  </a:cubicBezTo>
                  <a:cubicBezTo>
                    <a:pt x="538" y="915"/>
                    <a:pt x="538" y="915"/>
                    <a:pt x="538" y="915"/>
                  </a:cubicBezTo>
                  <a:cubicBezTo>
                    <a:pt x="553" y="915"/>
                    <a:pt x="564" y="904"/>
                    <a:pt x="564" y="890"/>
                  </a:cubicBezTo>
                  <a:cubicBezTo>
                    <a:pt x="564" y="784"/>
                    <a:pt x="564" y="784"/>
                    <a:pt x="564" y="784"/>
                  </a:cubicBezTo>
                  <a:cubicBezTo>
                    <a:pt x="564" y="770"/>
                    <a:pt x="553" y="759"/>
                    <a:pt x="538" y="759"/>
                  </a:cubicBezTo>
                  <a:close/>
                  <a:moveTo>
                    <a:pt x="306" y="759"/>
                  </a:moveTo>
                  <a:cubicBezTo>
                    <a:pt x="60" y="759"/>
                    <a:pt x="60" y="759"/>
                    <a:pt x="60" y="759"/>
                  </a:cubicBezTo>
                  <a:cubicBezTo>
                    <a:pt x="27" y="759"/>
                    <a:pt x="0" y="770"/>
                    <a:pt x="0" y="784"/>
                  </a:cubicBezTo>
                  <a:cubicBezTo>
                    <a:pt x="0" y="890"/>
                    <a:pt x="0" y="890"/>
                    <a:pt x="0" y="890"/>
                  </a:cubicBezTo>
                  <a:cubicBezTo>
                    <a:pt x="0" y="904"/>
                    <a:pt x="27" y="915"/>
                    <a:pt x="60" y="915"/>
                  </a:cubicBezTo>
                  <a:cubicBezTo>
                    <a:pt x="306" y="915"/>
                    <a:pt x="306" y="915"/>
                    <a:pt x="306" y="915"/>
                  </a:cubicBezTo>
                  <a:cubicBezTo>
                    <a:pt x="339" y="915"/>
                    <a:pt x="366" y="904"/>
                    <a:pt x="366" y="890"/>
                  </a:cubicBezTo>
                  <a:cubicBezTo>
                    <a:pt x="366" y="784"/>
                    <a:pt x="366" y="784"/>
                    <a:pt x="366" y="784"/>
                  </a:cubicBezTo>
                  <a:cubicBezTo>
                    <a:pt x="366" y="770"/>
                    <a:pt x="339" y="759"/>
                    <a:pt x="306" y="759"/>
                  </a:cubicBezTo>
                  <a:close/>
                  <a:moveTo>
                    <a:pt x="2929" y="567"/>
                  </a:moveTo>
                  <a:cubicBezTo>
                    <a:pt x="2824" y="567"/>
                    <a:pt x="2824" y="567"/>
                    <a:pt x="2824" y="567"/>
                  </a:cubicBezTo>
                  <a:cubicBezTo>
                    <a:pt x="2810" y="567"/>
                    <a:pt x="2798" y="579"/>
                    <a:pt x="2798" y="593"/>
                  </a:cubicBezTo>
                  <a:cubicBezTo>
                    <a:pt x="2798" y="698"/>
                    <a:pt x="2798" y="698"/>
                    <a:pt x="2798" y="698"/>
                  </a:cubicBezTo>
                  <a:cubicBezTo>
                    <a:pt x="2798" y="712"/>
                    <a:pt x="2810" y="723"/>
                    <a:pt x="2824" y="723"/>
                  </a:cubicBezTo>
                  <a:cubicBezTo>
                    <a:pt x="2929" y="723"/>
                    <a:pt x="2929" y="723"/>
                    <a:pt x="2929" y="723"/>
                  </a:cubicBezTo>
                  <a:cubicBezTo>
                    <a:pt x="2943" y="723"/>
                    <a:pt x="2954" y="712"/>
                    <a:pt x="2954" y="698"/>
                  </a:cubicBezTo>
                  <a:cubicBezTo>
                    <a:pt x="2954" y="593"/>
                    <a:pt x="2954" y="593"/>
                    <a:pt x="2954" y="593"/>
                  </a:cubicBezTo>
                  <a:cubicBezTo>
                    <a:pt x="2954" y="579"/>
                    <a:pt x="2943" y="567"/>
                    <a:pt x="2929" y="567"/>
                  </a:cubicBezTo>
                  <a:close/>
                  <a:moveTo>
                    <a:pt x="2729" y="567"/>
                  </a:moveTo>
                  <a:cubicBezTo>
                    <a:pt x="2624" y="567"/>
                    <a:pt x="2624" y="567"/>
                    <a:pt x="2624" y="567"/>
                  </a:cubicBezTo>
                  <a:cubicBezTo>
                    <a:pt x="2610" y="567"/>
                    <a:pt x="2599" y="579"/>
                    <a:pt x="2599" y="593"/>
                  </a:cubicBezTo>
                  <a:cubicBezTo>
                    <a:pt x="2599" y="698"/>
                    <a:pt x="2599" y="698"/>
                    <a:pt x="2599" y="698"/>
                  </a:cubicBezTo>
                  <a:cubicBezTo>
                    <a:pt x="2599" y="712"/>
                    <a:pt x="2610" y="723"/>
                    <a:pt x="2624" y="723"/>
                  </a:cubicBezTo>
                  <a:cubicBezTo>
                    <a:pt x="2729" y="723"/>
                    <a:pt x="2729" y="723"/>
                    <a:pt x="2729" y="723"/>
                  </a:cubicBezTo>
                  <a:cubicBezTo>
                    <a:pt x="2743" y="723"/>
                    <a:pt x="2755" y="712"/>
                    <a:pt x="2755" y="698"/>
                  </a:cubicBezTo>
                  <a:cubicBezTo>
                    <a:pt x="2755" y="593"/>
                    <a:pt x="2755" y="593"/>
                    <a:pt x="2755" y="593"/>
                  </a:cubicBezTo>
                  <a:cubicBezTo>
                    <a:pt x="2755" y="579"/>
                    <a:pt x="2743" y="567"/>
                    <a:pt x="2729" y="567"/>
                  </a:cubicBezTo>
                  <a:close/>
                  <a:moveTo>
                    <a:pt x="2530" y="567"/>
                  </a:moveTo>
                  <a:cubicBezTo>
                    <a:pt x="2425" y="567"/>
                    <a:pt x="2425" y="567"/>
                    <a:pt x="2425" y="567"/>
                  </a:cubicBezTo>
                  <a:cubicBezTo>
                    <a:pt x="2411" y="567"/>
                    <a:pt x="2400" y="579"/>
                    <a:pt x="2400" y="593"/>
                  </a:cubicBezTo>
                  <a:cubicBezTo>
                    <a:pt x="2400" y="698"/>
                    <a:pt x="2400" y="698"/>
                    <a:pt x="2400" y="698"/>
                  </a:cubicBezTo>
                  <a:cubicBezTo>
                    <a:pt x="2400" y="712"/>
                    <a:pt x="2411" y="723"/>
                    <a:pt x="2425" y="723"/>
                  </a:cubicBezTo>
                  <a:cubicBezTo>
                    <a:pt x="2530" y="723"/>
                    <a:pt x="2530" y="723"/>
                    <a:pt x="2530" y="723"/>
                  </a:cubicBezTo>
                  <a:cubicBezTo>
                    <a:pt x="2544" y="723"/>
                    <a:pt x="2556" y="712"/>
                    <a:pt x="2556" y="698"/>
                  </a:cubicBezTo>
                  <a:cubicBezTo>
                    <a:pt x="2556" y="593"/>
                    <a:pt x="2556" y="593"/>
                    <a:pt x="2556" y="593"/>
                  </a:cubicBezTo>
                  <a:cubicBezTo>
                    <a:pt x="2556" y="579"/>
                    <a:pt x="2544" y="567"/>
                    <a:pt x="2530" y="567"/>
                  </a:cubicBezTo>
                  <a:close/>
                  <a:moveTo>
                    <a:pt x="2332" y="567"/>
                  </a:moveTo>
                  <a:cubicBezTo>
                    <a:pt x="2227" y="567"/>
                    <a:pt x="2227" y="567"/>
                    <a:pt x="2227" y="567"/>
                  </a:cubicBezTo>
                  <a:cubicBezTo>
                    <a:pt x="2213" y="567"/>
                    <a:pt x="2202" y="579"/>
                    <a:pt x="2202" y="593"/>
                  </a:cubicBezTo>
                  <a:cubicBezTo>
                    <a:pt x="2202" y="698"/>
                    <a:pt x="2202" y="698"/>
                    <a:pt x="2202" y="698"/>
                  </a:cubicBezTo>
                  <a:cubicBezTo>
                    <a:pt x="2202" y="712"/>
                    <a:pt x="2213" y="723"/>
                    <a:pt x="2227" y="723"/>
                  </a:cubicBezTo>
                  <a:cubicBezTo>
                    <a:pt x="2332" y="723"/>
                    <a:pt x="2332" y="723"/>
                    <a:pt x="2332" y="723"/>
                  </a:cubicBezTo>
                  <a:cubicBezTo>
                    <a:pt x="2346" y="723"/>
                    <a:pt x="2358" y="712"/>
                    <a:pt x="2358" y="698"/>
                  </a:cubicBezTo>
                  <a:cubicBezTo>
                    <a:pt x="2358" y="593"/>
                    <a:pt x="2358" y="593"/>
                    <a:pt x="2358" y="593"/>
                  </a:cubicBezTo>
                  <a:cubicBezTo>
                    <a:pt x="2358" y="579"/>
                    <a:pt x="2346" y="567"/>
                    <a:pt x="2332" y="567"/>
                  </a:cubicBezTo>
                  <a:close/>
                  <a:moveTo>
                    <a:pt x="2132" y="567"/>
                  </a:moveTo>
                  <a:cubicBezTo>
                    <a:pt x="2026" y="567"/>
                    <a:pt x="2026" y="567"/>
                    <a:pt x="2026" y="567"/>
                  </a:cubicBezTo>
                  <a:cubicBezTo>
                    <a:pt x="2012" y="567"/>
                    <a:pt x="2001" y="579"/>
                    <a:pt x="2001" y="593"/>
                  </a:cubicBezTo>
                  <a:cubicBezTo>
                    <a:pt x="2001" y="698"/>
                    <a:pt x="2001" y="698"/>
                    <a:pt x="2001" y="698"/>
                  </a:cubicBezTo>
                  <a:cubicBezTo>
                    <a:pt x="2001" y="712"/>
                    <a:pt x="2012" y="723"/>
                    <a:pt x="2026" y="723"/>
                  </a:cubicBezTo>
                  <a:cubicBezTo>
                    <a:pt x="2132" y="723"/>
                    <a:pt x="2132" y="723"/>
                    <a:pt x="2132" y="723"/>
                  </a:cubicBezTo>
                  <a:cubicBezTo>
                    <a:pt x="2146" y="723"/>
                    <a:pt x="2157" y="712"/>
                    <a:pt x="2157" y="698"/>
                  </a:cubicBezTo>
                  <a:cubicBezTo>
                    <a:pt x="2157" y="593"/>
                    <a:pt x="2157" y="593"/>
                    <a:pt x="2157" y="593"/>
                  </a:cubicBezTo>
                  <a:cubicBezTo>
                    <a:pt x="2157" y="579"/>
                    <a:pt x="2146" y="567"/>
                    <a:pt x="2132" y="567"/>
                  </a:cubicBezTo>
                  <a:close/>
                  <a:moveTo>
                    <a:pt x="1935" y="567"/>
                  </a:moveTo>
                  <a:cubicBezTo>
                    <a:pt x="1830" y="567"/>
                    <a:pt x="1830" y="567"/>
                    <a:pt x="1830" y="567"/>
                  </a:cubicBezTo>
                  <a:cubicBezTo>
                    <a:pt x="1816" y="567"/>
                    <a:pt x="1804" y="579"/>
                    <a:pt x="1804" y="593"/>
                  </a:cubicBezTo>
                  <a:cubicBezTo>
                    <a:pt x="1804" y="698"/>
                    <a:pt x="1804" y="698"/>
                    <a:pt x="1804" y="698"/>
                  </a:cubicBezTo>
                  <a:cubicBezTo>
                    <a:pt x="1804" y="712"/>
                    <a:pt x="1816" y="723"/>
                    <a:pt x="1830" y="723"/>
                  </a:cubicBezTo>
                  <a:cubicBezTo>
                    <a:pt x="1935" y="723"/>
                    <a:pt x="1935" y="723"/>
                    <a:pt x="1935" y="723"/>
                  </a:cubicBezTo>
                  <a:cubicBezTo>
                    <a:pt x="1949" y="723"/>
                    <a:pt x="1960" y="712"/>
                    <a:pt x="1960" y="698"/>
                  </a:cubicBezTo>
                  <a:cubicBezTo>
                    <a:pt x="1960" y="593"/>
                    <a:pt x="1960" y="593"/>
                    <a:pt x="1960" y="593"/>
                  </a:cubicBezTo>
                  <a:cubicBezTo>
                    <a:pt x="1960" y="579"/>
                    <a:pt x="1949" y="567"/>
                    <a:pt x="1935" y="567"/>
                  </a:cubicBezTo>
                  <a:close/>
                  <a:moveTo>
                    <a:pt x="1734" y="567"/>
                  </a:moveTo>
                  <a:cubicBezTo>
                    <a:pt x="1629" y="567"/>
                    <a:pt x="1629" y="567"/>
                    <a:pt x="1629" y="567"/>
                  </a:cubicBezTo>
                  <a:cubicBezTo>
                    <a:pt x="1615" y="567"/>
                    <a:pt x="1603" y="579"/>
                    <a:pt x="1603" y="593"/>
                  </a:cubicBezTo>
                  <a:cubicBezTo>
                    <a:pt x="1603" y="698"/>
                    <a:pt x="1603" y="698"/>
                    <a:pt x="1603" y="698"/>
                  </a:cubicBezTo>
                  <a:cubicBezTo>
                    <a:pt x="1603" y="712"/>
                    <a:pt x="1615" y="723"/>
                    <a:pt x="1629" y="723"/>
                  </a:cubicBezTo>
                  <a:cubicBezTo>
                    <a:pt x="1734" y="723"/>
                    <a:pt x="1734" y="723"/>
                    <a:pt x="1734" y="723"/>
                  </a:cubicBezTo>
                  <a:cubicBezTo>
                    <a:pt x="1748" y="723"/>
                    <a:pt x="1759" y="712"/>
                    <a:pt x="1759" y="698"/>
                  </a:cubicBezTo>
                  <a:cubicBezTo>
                    <a:pt x="1759" y="593"/>
                    <a:pt x="1759" y="593"/>
                    <a:pt x="1759" y="593"/>
                  </a:cubicBezTo>
                  <a:cubicBezTo>
                    <a:pt x="1759" y="579"/>
                    <a:pt x="1748" y="567"/>
                    <a:pt x="1734" y="567"/>
                  </a:cubicBezTo>
                  <a:close/>
                  <a:moveTo>
                    <a:pt x="1535" y="567"/>
                  </a:moveTo>
                  <a:cubicBezTo>
                    <a:pt x="1430" y="567"/>
                    <a:pt x="1430" y="567"/>
                    <a:pt x="1430" y="567"/>
                  </a:cubicBezTo>
                  <a:cubicBezTo>
                    <a:pt x="1416" y="567"/>
                    <a:pt x="1404" y="579"/>
                    <a:pt x="1404" y="593"/>
                  </a:cubicBezTo>
                  <a:cubicBezTo>
                    <a:pt x="1404" y="698"/>
                    <a:pt x="1404" y="698"/>
                    <a:pt x="1404" y="698"/>
                  </a:cubicBezTo>
                  <a:cubicBezTo>
                    <a:pt x="1404" y="712"/>
                    <a:pt x="1416" y="723"/>
                    <a:pt x="1430" y="723"/>
                  </a:cubicBezTo>
                  <a:cubicBezTo>
                    <a:pt x="1535" y="723"/>
                    <a:pt x="1535" y="723"/>
                    <a:pt x="1535" y="723"/>
                  </a:cubicBezTo>
                  <a:cubicBezTo>
                    <a:pt x="1549" y="723"/>
                    <a:pt x="1560" y="712"/>
                    <a:pt x="1560" y="698"/>
                  </a:cubicBezTo>
                  <a:cubicBezTo>
                    <a:pt x="1560" y="593"/>
                    <a:pt x="1560" y="593"/>
                    <a:pt x="1560" y="593"/>
                  </a:cubicBezTo>
                  <a:cubicBezTo>
                    <a:pt x="1560" y="579"/>
                    <a:pt x="1549" y="567"/>
                    <a:pt x="1535" y="567"/>
                  </a:cubicBezTo>
                  <a:close/>
                  <a:moveTo>
                    <a:pt x="1336" y="567"/>
                  </a:moveTo>
                  <a:cubicBezTo>
                    <a:pt x="1231" y="567"/>
                    <a:pt x="1231" y="567"/>
                    <a:pt x="1231" y="567"/>
                  </a:cubicBezTo>
                  <a:cubicBezTo>
                    <a:pt x="1217" y="567"/>
                    <a:pt x="1206" y="579"/>
                    <a:pt x="1206" y="593"/>
                  </a:cubicBezTo>
                  <a:cubicBezTo>
                    <a:pt x="1206" y="698"/>
                    <a:pt x="1206" y="698"/>
                    <a:pt x="1206" y="698"/>
                  </a:cubicBezTo>
                  <a:cubicBezTo>
                    <a:pt x="1206" y="712"/>
                    <a:pt x="1217" y="723"/>
                    <a:pt x="1231" y="723"/>
                  </a:cubicBezTo>
                  <a:cubicBezTo>
                    <a:pt x="1336" y="723"/>
                    <a:pt x="1336" y="723"/>
                    <a:pt x="1336" y="723"/>
                  </a:cubicBezTo>
                  <a:cubicBezTo>
                    <a:pt x="1350" y="723"/>
                    <a:pt x="1362" y="712"/>
                    <a:pt x="1362" y="698"/>
                  </a:cubicBezTo>
                  <a:cubicBezTo>
                    <a:pt x="1362" y="593"/>
                    <a:pt x="1362" y="593"/>
                    <a:pt x="1362" y="593"/>
                  </a:cubicBezTo>
                  <a:cubicBezTo>
                    <a:pt x="1362" y="579"/>
                    <a:pt x="1350" y="567"/>
                    <a:pt x="1336" y="567"/>
                  </a:cubicBezTo>
                  <a:close/>
                  <a:moveTo>
                    <a:pt x="1140" y="567"/>
                  </a:moveTo>
                  <a:cubicBezTo>
                    <a:pt x="1035" y="567"/>
                    <a:pt x="1035" y="567"/>
                    <a:pt x="1035" y="567"/>
                  </a:cubicBezTo>
                  <a:cubicBezTo>
                    <a:pt x="1020" y="567"/>
                    <a:pt x="1009" y="579"/>
                    <a:pt x="1009" y="593"/>
                  </a:cubicBezTo>
                  <a:cubicBezTo>
                    <a:pt x="1009" y="698"/>
                    <a:pt x="1009" y="698"/>
                    <a:pt x="1009" y="698"/>
                  </a:cubicBezTo>
                  <a:cubicBezTo>
                    <a:pt x="1009" y="712"/>
                    <a:pt x="1020" y="723"/>
                    <a:pt x="1035" y="723"/>
                  </a:cubicBezTo>
                  <a:cubicBezTo>
                    <a:pt x="1140" y="723"/>
                    <a:pt x="1140" y="723"/>
                    <a:pt x="1140" y="723"/>
                  </a:cubicBezTo>
                  <a:cubicBezTo>
                    <a:pt x="1154" y="723"/>
                    <a:pt x="1165" y="712"/>
                    <a:pt x="1165" y="698"/>
                  </a:cubicBezTo>
                  <a:cubicBezTo>
                    <a:pt x="1165" y="593"/>
                    <a:pt x="1165" y="593"/>
                    <a:pt x="1165" y="593"/>
                  </a:cubicBezTo>
                  <a:cubicBezTo>
                    <a:pt x="1165" y="579"/>
                    <a:pt x="1154" y="567"/>
                    <a:pt x="1140" y="567"/>
                  </a:cubicBezTo>
                  <a:close/>
                  <a:moveTo>
                    <a:pt x="940" y="567"/>
                  </a:moveTo>
                  <a:cubicBezTo>
                    <a:pt x="835" y="567"/>
                    <a:pt x="835" y="567"/>
                    <a:pt x="835" y="567"/>
                  </a:cubicBezTo>
                  <a:cubicBezTo>
                    <a:pt x="821" y="567"/>
                    <a:pt x="809" y="579"/>
                    <a:pt x="809" y="593"/>
                  </a:cubicBezTo>
                  <a:cubicBezTo>
                    <a:pt x="809" y="698"/>
                    <a:pt x="809" y="698"/>
                    <a:pt x="809" y="698"/>
                  </a:cubicBezTo>
                  <a:cubicBezTo>
                    <a:pt x="809" y="712"/>
                    <a:pt x="821" y="723"/>
                    <a:pt x="835" y="723"/>
                  </a:cubicBezTo>
                  <a:cubicBezTo>
                    <a:pt x="940" y="723"/>
                    <a:pt x="940" y="723"/>
                    <a:pt x="940" y="723"/>
                  </a:cubicBezTo>
                  <a:cubicBezTo>
                    <a:pt x="954" y="723"/>
                    <a:pt x="965" y="712"/>
                    <a:pt x="965" y="698"/>
                  </a:cubicBezTo>
                  <a:cubicBezTo>
                    <a:pt x="965" y="593"/>
                    <a:pt x="965" y="593"/>
                    <a:pt x="965" y="593"/>
                  </a:cubicBezTo>
                  <a:cubicBezTo>
                    <a:pt x="965" y="579"/>
                    <a:pt x="954" y="567"/>
                    <a:pt x="940" y="567"/>
                  </a:cubicBezTo>
                  <a:close/>
                  <a:moveTo>
                    <a:pt x="738" y="567"/>
                  </a:moveTo>
                  <a:cubicBezTo>
                    <a:pt x="633" y="567"/>
                    <a:pt x="633" y="567"/>
                    <a:pt x="633" y="567"/>
                  </a:cubicBezTo>
                  <a:cubicBezTo>
                    <a:pt x="619" y="567"/>
                    <a:pt x="607" y="579"/>
                    <a:pt x="607" y="593"/>
                  </a:cubicBezTo>
                  <a:cubicBezTo>
                    <a:pt x="607" y="698"/>
                    <a:pt x="607" y="698"/>
                    <a:pt x="607" y="698"/>
                  </a:cubicBezTo>
                  <a:cubicBezTo>
                    <a:pt x="607" y="712"/>
                    <a:pt x="619" y="723"/>
                    <a:pt x="633" y="723"/>
                  </a:cubicBezTo>
                  <a:cubicBezTo>
                    <a:pt x="738" y="723"/>
                    <a:pt x="738" y="723"/>
                    <a:pt x="738" y="723"/>
                  </a:cubicBezTo>
                  <a:cubicBezTo>
                    <a:pt x="752" y="723"/>
                    <a:pt x="763" y="712"/>
                    <a:pt x="763" y="698"/>
                  </a:cubicBezTo>
                  <a:cubicBezTo>
                    <a:pt x="763" y="593"/>
                    <a:pt x="763" y="593"/>
                    <a:pt x="763" y="593"/>
                  </a:cubicBezTo>
                  <a:cubicBezTo>
                    <a:pt x="763" y="579"/>
                    <a:pt x="752" y="567"/>
                    <a:pt x="738" y="567"/>
                  </a:cubicBezTo>
                  <a:close/>
                  <a:moveTo>
                    <a:pt x="538" y="567"/>
                  </a:moveTo>
                  <a:cubicBezTo>
                    <a:pt x="433" y="567"/>
                    <a:pt x="433" y="567"/>
                    <a:pt x="433" y="567"/>
                  </a:cubicBezTo>
                  <a:cubicBezTo>
                    <a:pt x="419" y="567"/>
                    <a:pt x="408" y="579"/>
                    <a:pt x="408" y="593"/>
                  </a:cubicBezTo>
                  <a:cubicBezTo>
                    <a:pt x="408" y="698"/>
                    <a:pt x="408" y="698"/>
                    <a:pt x="408" y="698"/>
                  </a:cubicBezTo>
                  <a:cubicBezTo>
                    <a:pt x="408" y="712"/>
                    <a:pt x="419" y="723"/>
                    <a:pt x="433" y="723"/>
                  </a:cubicBezTo>
                  <a:cubicBezTo>
                    <a:pt x="538" y="723"/>
                    <a:pt x="538" y="723"/>
                    <a:pt x="538" y="723"/>
                  </a:cubicBezTo>
                  <a:cubicBezTo>
                    <a:pt x="553" y="723"/>
                    <a:pt x="564" y="712"/>
                    <a:pt x="564" y="698"/>
                  </a:cubicBezTo>
                  <a:cubicBezTo>
                    <a:pt x="564" y="593"/>
                    <a:pt x="564" y="593"/>
                    <a:pt x="564" y="593"/>
                  </a:cubicBezTo>
                  <a:cubicBezTo>
                    <a:pt x="564" y="579"/>
                    <a:pt x="553" y="567"/>
                    <a:pt x="538" y="567"/>
                  </a:cubicBezTo>
                  <a:close/>
                  <a:moveTo>
                    <a:pt x="232" y="723"/>
                  </a:moveTo>
                  <a:cubicBezTo>
                    <a:pt x="337" y="723"/>
                    <a:pt x="337" y="723"/>
                    <a:pt x="337" y="723"/>
                  </a:cubicBezTo>
                  <a:cubicBezTo>
                    <a:pt x="351" y="723"/>
                    <a:pt x="363" y="712"/>
                    <a:pt x="363" y="698"/>
                  </a:cubicBezTo>
                  <a:cubicBezTo>
                    <a:pt x="363" y="593"/>
                    <a:pt x="363" y="593"/>
                    <a:pt x="363" y="593"/>
                  </a:cubicBezTo>
                  <a:cubicBezTo>
                    <a:pt x="363" y="579"/>
                    <a:pt x="351" y="567"/>
                    <a:pt x="337" y="567"/>
                  </a:cubicBezTo>
                  <a:cubicBezTo>
                    <a:pt x="232" y="567"/>
                    <a:pt x="232" y="567"/>
                    <a:pt x="232" y="567"/>
                  </a:cubicBezTo>
                  <a:cubicBezTo>
                    <a:pt x="218" y="567"/>
                    <a:pt x="207" y="579"/>
                    <a:pt x="207" y="593"/>
                  </a:cubicBezTo>
                  <a:cubicBezTo>
                    <a:pt x="207" y="698"/>
                    <a:pt x="207" y="698"/>
                    <a:pt x="207" y="698"/>
                  </a:cubicBezTo>
                  <a:cubicBezTo>
                    <a:pt x="207" y="712"/>
                    <a:pt x="218" y="723"/>
                    <a:pt x="232" y="723"/>
                  </a:cubicBezTo>
                  <a:close/>
                  <a:moveTo>
                    <a:pt x="36" y="723"/>
                  </a:moveTo>
                  <a:cubicBezTo>
                    <a:pt x="141" y="723"/>
                    <a:pt x="141" y="723"/>
                    <a:pt x="141" y="723"/>
                  </a:cubicBezTo>
                  <a:cubicBezTo>
                    <a:pt x="155" y="723"/>
                    <a:pt x="166" y="712"/>
                    <a:pt x="166" y="698"/>
                  </a:cubicBezTo>
                  <a:cubicBezTo>
                    <a:pt x="166" y="593"/>
                    <a:pt x="166" y="593"/>
                    <a:pt x="166" y="593"/>
                  </a:cubicBezTo>
                  <a:cubicBezTo>
                    <a:pt x="166" y="579"/>
                    <a:pt x="155" y="567"/>
                    <a:pt x="141" y="567"/>
                  </a:cubicBezTo>
                  <a:cubicBezTo>
                    <a:pt x="36" y="567"/>
                    <a:pt x="36" y="567"/>
                    <a:pt x="36" y="567"/>
                  </a:cubicBezTo>
                  <a:cubicBezTo>
                    <a:pt x="22" y="567"/>
                    <a:pt x="10" y="579"/>
                    <a:pt x="10" y="593"/>
                  </a:cubicBezTo>
                  <a:cubicBezTo>
                    <a:pt x="10" y="698"/>
                    <a:pt x="10" y="698"/>
                    <a:pt x="10" y="698"/>
                  </a:cubicBezTo>
                  <a:cubicBezTo>
                    <a:pt x="10" y="712"/>
                    <a:pt x="22" y="723"/>
                    <a:pt x="36" y="723"/>
                  </a:cubicBezTo>
                  <a:close/>
                  <a:moveTo>
                    <a:pt x="2929" y="376"/>
                  </a:moveTo>
                  <a:cubicBezTo>
                    <a:pt x="2824" y="376"/>
                    <a:pt x="2824" y="376"/>
                    <a:pt x="2824" y="376"/>
                  </a:cubicBezTo>
                  <a:cubicBezTo>
                    <a:pt x="2810" y="376"/>
                    <a:pt x="2798" y="387"/>
                    <a:pt x="2798" y="401"/>
                  </a:cubicBezTo>
                  <a:cubicBezTo>
                    <a:pt x="2798" y="506"/>
                    <a:pt x="2798" y="506"/>
                    <a:pt x="2798" y="506"/>
                  </a:cubicBezTo>
                  <a:cubicBezTo>
                    <a:pt x="2798" y="520"/>
                    <a:pt x="2810" y="532"/>
                    <a:pt x="2824" y="532"/>
                  </a:cubicBezTo>
                  <a:cubicBezTo>
                    <a:pt x="2929" y="532"/>
                    <a:pt x="2929" y="532"/>
                    <a:pt x="2929" y="532"/>
                  </a:cubicBezTo>
                  <a:cubicBezTo>
                    <a:pt x="2943" y="532"/>
                    <a:pt x="2954" y="520"/>
                    <a:pt x="2954" y="506"/>
                  </a:cubicBezTo>
                  <a:cubicBezTo>
                    <a:pt x="2954" y="401"/>
                    <a:pt x="2954" y="401"/>
                    <a:pt x="2954" y="401"/>
                  </a:cubicBezTo>
                  <a:cubicBezTo>
                    <a:pt x="2954" y="387"/>
                    <a:pt x="2943" y="376"/>
                    <a:pt x="2929" y="376"/>
                  </a:cubicBezTo>
                  <a:close/>
                  <a:moveTo>
                    <a:pt x="2729" y="376"/>
                  </a:moveTo>
                  <a:cubicBezTo>
                    <a:pt x="2624" y="376"/>
                    <a:pt x="2624" y="376"/>
                    <a:pt x="2624" y="376"/>
                  </a:cubicBezTo>
                  <a:cubicBezTo>
                    <a:pt x="2610" y="376"/>
                    <a:pt x="2599" y="387"/>
                    <a:pt x="2599" y="401"/>
                  </a:cubicBezTo>
                  <a:cubicBezTo>
                    <a:pt x="2599" y="506"/>
                    <a:pt x="2599" y="506"/>
                    <a:pt x="2599" y="506"/>
                  </a:cubicBezTo>
                  <a:cubicBezTo>
                    <a:pt x="2599" y="520"/>
                    <a:pt x="2610" y="532"/>
                    <a:pt x="2624" y="532"/>
                  </a:cubicBezTo>
                  <a:cubicBezTo>
                    <a:pt x="2729" y="532"/>
                    <a:pt x="2729" y="532"/>
                    <a:pt x="2729" y="532"/>
                  </a:cubicBezTo>
                  <a:cubicBezTo>
                    <a:pt x="2743" y="532"/>
                    <a:pt x="2755" y="520"/>
                    <a:pt x="2755" y="506"/>
                  </a:cubicBezTo>
                  <a:cubicBezTo>
                    <a:pt x="2755" y="401"/>
                    <a:pt x="2755" y="401"/>
                    <a:pt x="2755" y="401"/>
                  </a:cubicBezTo>
                  <a:cubicBezTo>
                    <a:pt x="2755" y="387"/>
                    <a:pt x="2743" y="376"/>
                    <a:pt x="2729" y="376"/>
                  </a:cubicBezTo>
                  <a:close/>
                  <a:moveTo>
                    <a:pt x="2530" y="376"/>
                  </a:moveTo>
                  <a:cubicBezTo>
                    <a:pt x="2425" y="376"/>
                    <a:pt x="2425" y="376"/>
                    <a:pt x="2425" y="376"/>
                  </a:cubicBezTo>
                  <a:cubicBezTo>
                    <a:pt x="2411" y="376"/>
                    <a:pt x="2400" y="387"/>
                    <a:pt x="2400" y="401"/>
                  </a:cubicBezTo>
                  <a:cubicBezTo>
                    <a:pt x="2400" y="506"/>
                    <a:pt x="2400" y="506"/>
                    <a:pt x="2400" y="506"/>
                  </a:cubicBezTo>
                  <a:cubicBezTo>
                    <a:pt x="2400" y="520"/>
                    <a:pt x="2411" y="532"/>
                    <a:pt x="2425" y="532"/>
                  </a:cubicBezTo>
                  <a:cubicBezTo>
                    <a:pt x="2530" y="532"/>
                    <a:pt x="2530" y="532"/>
                    <a:pt x="2530" y="532"/>
                  </a:cubicBezTo>
                  <a:cubicBezTo>
                    <a:pt x="2544" y="532"/>
                    <a:pt x="2556" y="520"/>
                    <a:pt x="2556" y="506"/>
                  </a:cubicBezTo>
                  <a:cubicBezTo>
                    <a:pt x="2556" y="401"/>
                    <a:pt x="2556" y="401"/>
                    <a:pt x="2556" y="401"/>
                  </a:cubicBezTo>
                  <a:cubicBezTo>
                    <a:pt x="2556" y="387"/>
                    <a:pt x="2544" y="376"/>
                    <a:pt x="2530" y="376"/>
                  </a:cubicBezTo>
                  <a:close/>
                  <a:moveTo>
                    <a:pt x="2332" y="376"/>
                  </a:moveTo>
                  <a:cubicBezTo>
                    <a:pt x="2227" y="376"/>
                    <a:pt x="2227" y="376"/>
                    <a:pt x="2227" y="376"/>
                  </a:cubicBezTo>
                  <a:cubicBezTo>
                    <a:pt x="2213" y="376"/>
                    <a:pt x="2202" y="387"/>
                    <a:pt x="2202" y="401"/>
                  </a:cubicBezTo>
                  <a:cubicBezTo>
                    <a:pt x="2202" y="506"/>
                    <a:pt x="2202" y="506"/>
                    <a:pt x="2202" y="506"/>
                  </a:cubicBezTo>
                  <a:cubicBezTo>
                    <a:pt x="2202" y="520"/>
                    <a:pt x="2213" y="532"/>
                    <a:pt x="2227" y="532"/>
                  </a:cubicBezTo>
                  <a:cubicBezTo>
                    <a:pt x="2332" y="532"/>
                    <a:pt x="2332" y="532"/>
                    <a:pt x="2332" y="532"/>
                  </a:cubicBezTo>
                  <a:cubicBezTo>
                    <a:pt x="2346" y="532"/>
                    <a:pt x="2358" y="520"/>
                    <a:pt x="2358" y="506"/>
                  </a:cubicBezTo>
                  <a:cubicBezTo>
                    <a:pt x="2358" y="401"/>
                    <a:pt x="2358" y="401"/>
                    <a:pt x="2358" y="401"/>
                  </a:cubicBezTo>
                  <a:cubicBezTo>
                    <a:pt x="2358" y="387"/>
                    <a:pt x="2346" y="376"/>
                    <a:pt x="2332" y="376"/>
                  </a:cubicBezTo>
                  <a:close/>
                  <a:moveTo>
                    <a:pt x="2132" y="376"/>
                  </a:moveTo>
                  <a:cubicBezTo>
                    <a:pt x="2026" y="376"/>
                    <a:pt x="2026" y="376"/>
                    <a:pt x="2026" y="376"/>
                  </a:cubicBezTo>
                  <a:cubicBezTo>
                    <a:pt x="2012" y="376"/>
                    <a:pt x="2001" y="387"/>
                    <a:pt x="2001" y="401"/>
                  </a:cubicBezTo>
                  <a:cubicBezTo>
                    <a:pt x="2001" y="506"/>
                    <a:pt x="2001" y="506"/>
                    <a:pt x="2001" y="506"/>
                  </a:cubicBezTo>
                  <a:cubicBezTo>
                    <a:pt x="2001" y="520"/>
                    <a:pt x="2012" y="532"/>
                    <a:pt x="2026" y="532"/>
                  </a:cubicBezTo>
                  <a:cubicBezTo>
                    <a:pt x="2132" y="532"/>
                    <a:pt x="2132" y="532"/>
                    <a:pt x="2132" y="532"/>
                  </a:cubicBezTo>
                  <a:cubicBezTo>
                    <a:pt x="2146" y="532"/>
                    <a:pt x="2157" y="520"/>
                    <a:pt x="2157" y="506"/>
                  </a:cubicBezTo>
                  <a:cubicBezTo>
                    <a:pt x="2157" y="401"/>
                    <a:pt x="2157" y="401"/>
                    <a:pt x="2157" y="401"/>
                  </a:cubicBezTo>
                  <a:cubicBezTo>
                    <a:pt x="2157" y="387"/>
                    <a:pt x="2146" y="376"/>
                    <a:pt x="2132" y="376"/>
                  </a:cubicBezTo>
                  <a:close/>
                  <a:moveTo>
                    <a:pt x="1935" y="376"/>
                  </a:moveTo>
                  <a:cubicBezTo>
                    <a:pt x="1830" y="376"/>
                    <a:pt x="1830" y="376"/>
                    <a:pt x="1830" y="376"/>
                  </a:cubicBezTo>
                  <a:cubicBezTo>
                    <a:pt x="1816" y="376"/>
                    <a:pt x="1804" y="387"/>
                    <a:pt x="1804" y="401"/>
                  </a:cubicBezTo>
                  <a:cubicBezTo>
                    <a:pt x="1804" y="506"/>
                    <a:pt x="1804" y="506"/>
                    <a:pt x="1804" y="506"/>
                  </a:cubicBezTo>
                  <a:cubicBezTo>
                    <a:pt x="1804" y="520"/>
                    <a:pt x="1816" y="532"/>
                    <a:pt x="1830" y="532"/>
                  </a:cubicBezTo>
                  <a:cubicBezTo>
                    <a:pt x="1935" y="532"/>
                    <a:pt x="1935" y="532"/>
                    <a:pt x="1935" y="532"/>
                  </a:cubicBezTo>
                  <a:cubicBezTo>
                    <a:pt x="1949" y="532"/>
                    <a:pt x="1960" y="520"/>
                    <a:pt x="1960" y="506"/>
                  </a:cubicBezTo>
                  <a:cubicBezTo>
                    <a:pt x="1960" y="401"/>
                    <a:pt x="1960" y="401"/>
                    <a:pt x="1960" y="401"/>
                  </a:cubicBezTo>
                  <a:cubicBezTo>
                    <a:pt x="1960" y="387"/>
                    <a:pt x="1949" y="376"/>
                    <a:pt x="1935" y="376"/>
                  </a:cubicBezTo>
                  <a:close/>
                  <a:moveTo>
                    <a:pt x="1734" y="376"/>
                  </a:moveTo>
                  <a:cubicBezTo>
                    <a:pt x="1629" y="376"/>
                    <a:pt x="1629" y="376"/>
                    <a:pt x="1629" y="376"/>
                  </a:cubicBezTo>
                  <a:cubicBezTo>
                    <a:pt x="1615" y="376"/>
                    <a:pt x="1603" y="387"/>
                    <a:pt x="1603" y="401"/>
                  </a:cubicBezTo>
                  <a:cubicBezTo>
                    <a:pt x="1603" y="506"/>
                    <a:pt x="1603" y="506"/>
                    <a:pt x="1603" y="506"/>
                  </a:cubicBezTo>
                  <a:cubicBezTo>
                    <a:pt x="1603" y="520"/>
                    <a:pt x="1615" y="532"/>
                    <a:pt x="1629" y="532"/>
                  </a:cubicBezTo>
                  <a:cubicBezTo>
                    <a:pt x="1734" y="532"/>
                    <a:pt x="1734" y="532"/>
                    <a:pt x="1734" y="532"/>
                  </a:cubicBezTo>
                  <a:cubicBezTo>
                    <a:pt x="1748" y="532"/>
                    <a:pt x="1759" y="520"/>
                    <a:pt x="1759" y="506"/>
                  </a:cubicBezTo>
                  <a:cubicBezTo>
                    <a:pt x="1759" y="401"/>
                    <a:pt x="1759" y="401"/>
                    <a:pt x="1759" y="401"/>
                  </a:cubicBezTo>
                  <a:cubicBezTo>
                    <a:pt x="1759" y="387"/>
                    <a:pt x="1748" y="376"/>
                    <a:pt x="1734" y="376"/>
                  </a:cubicBezTo>
                  <a:close/>
                  <a:moveTo>
                    <a:pt x="1535" y="376"/>
                  </a:moveTo>
                  <a:cubicBezTo>
                    <a:pt x="1430" y="376"/>
                    <a:pt x="1430" y="376"/>
                    <a:pt x="1430" y="376"/>
                  </a:cubicBezTo>
                  <a:cubicBezTo>
                    <a:pt x="1416" y="376"/>
                    <a:pt x="1404" y="387"/>
                    <a:pt x="1404" y="401"/>
                  </a:cubicBezTo>
                  <a:cubicBezTo>
                    <a:pt x="1404" y="506"/>
                    <a:pt x="1404" y="506"/>
                    <a:pt x="1404" y="506"/>
                  </a:cubicBezTo>
                  <a:cubicBezTo>
                    <a:pt x="1404" y="520"/>
                    <a:pt x="1416" y="532"/>
                    <a:pt x="1430" y="532"/>
                  </a:cubicBezTo>
                  <a:cubicBezTo>
                    <a:pt x="1535" y="532"/>
                    <a:pt x="1535" y="532"/>
                    <a:pt x="1535" y="532"/>
                  </a:cubicBezTo>
                  <a:cubicBezTo>
                    <a:pt x="1549" y="532"/>
                    <a:pt x="1560" y="520"/>
                    <a:pt x="1560" y="506"/>
                  </a:cubicBezTo>
                  <a:cubicBezTo>
                    <a:pt x="1560" y="401"/>
                    <a:pt x="1560" y="401"/>
                    <a:pt x="1560" y="401"/>
                  </a:cubicBezTo>
                  <a:cubicBezTo>
                    <a:pt x="1560" y="387"/>
                    <a:pt x="1549" y="376"/>
                    <a:pt x="1535" y="376"/>
                  </a:cubicBezTo>
                  <a:close/>
                  <a:moveTo>
                    <a:pt x="1336" y="376"/>
                  </a:moveTo>
                  <a:cubicBezTo>
                    <a:pt x="1231" y="376"/>
                    <a:pt x="1231" y="376"/>
                    <a:pt x="1231" y="376"/>
                  </a:cubicBezTo>
                  <a:cubicBezTo>
                    <a:pt x="1217" y="376"/>
                    <a:pt x="1206" y="387"/>
                    <a:pt x="1206" y="401"/>
                  </a:cubicBezTo>
                  <a:cubicBezTo>
                    <a:pt x="1206" y="506"/>
                    <a:pt x="1206" y="506"/>
                    <a:pt x="1206" y="506"/>
                  </a:cubicBezTo>
                  <a:cubicBezTo>
                    <a:pt x="1206" y="520"/>
                    <a:pt x="1217" y="532"/>
                    <a:pt x="1231" y="532"/>
                  </a:cubicBezTo>
                  <a:cubicBezTo>
                    <a:pt x="1336" y="532"/>
                    <a:pt x="1336" y="532"/>
                    <a:pt x="1336" y="532"/>
                  </a:cubicBezTo>
                  <a:cubicBezTo>
                    <a:pt x="1350" y="532"/>
                    <a:pt x="1362" y="520"/>
                    <a:pt x="1362" y="506"/>
                  </a:cubicBezTo>
                  <a:cubicBezTo>
                    <a:pt x="1362" y="401"/>
                    <a:pt x="1362" y="401"/>
                    <a:pt x="1362" y="401"/>
                  </a:cubicBezTo>
                  <a:cubicBezTo>
                    <a:pt x="1362" y="387"/>
                    <a:pt x="1350" y="376"/>
                    <a:pt x="1336" y="376"/>
                  </a:cubicBezTo>
                  <a:close/>
                  <a:moveTo>
                    <a:pt x="1140" y="376"/>
                  </a:moveTo>
                  <a:cubicBezTo>
                    <a:pt x="1035" y="376"/>
                    <a:pt x="1035" y="376"/>
                    <a:pt x="1035" y="376"/>
                  </a:cubicBezTo>
                  <a:cubicBezTo>
                    <a:pt x="1020" y="376"/>
                    <a:pt x="1009" y="387"/>
                    <a:pt x="1009" y="401"/>
                  </a:cubicBezTo>
                  <a:cubicBezTo>
                    <a:pt x="1009" y="506"/>
                    <a:pt x="1009" y="506"/>
                    <a:pt x="1009" y="506"/>
                  </a:cubicBezTo>
                  <a:cubicBezTo>
                    <a:pt x="1009" y="520"/>
                    <a:pt x="1020" y="532"/>
                    <a:pt x="1035" y="532"/>
                  </a:cubicBezTo>
                  <a:cubicBezTo>
                    <a:pt x="1140" y="532"/>
                    <a:pt x="1140" y="532"/>
                    <a:pt x="1140" y="532"/>
                  </a:cubicBezTo>
                  <a:cubicBezTo>
                    <a:pt x="1154" y="532"/>
                    <a:pt x="1165" y="520"/>
                    <a:pt x="1165" y="506"/>
                  </a:cubicBezTo>
                  <a:cubicBezTo>
                    <a:pt x="1165" y="401"/>
                    <a:pt x="1165" y="401"/>
                    <a:pt x="1165" y="401"/>
                  </a:cubicBezTo>
                  <a:cubicBezTo>
                    <a:pt x="1165" y="387"/>
                    <a:pt x="1154" y="376"/>
                    <a:pt x="1140" y="376"/>
                  </a:cubicBezTo>
                  <a:close/>
                  <a:moveTo>
                    <a:pt x="940" y="376"/>
                  </a:moveTo>
                  <a:cubicBezTo>
                    <a:pt x="835" y="376"/>
                    <a:pt x="835" y="376"/>
                    <a:pt x="835" y="376"/>
                  </a:cubicBezTo>
                  <a:cubicBezTo>
                    <a:pt x="821" y="376"/>
                    <a:pt x="809" y="387"/>
                    <a:pt x="809" y="401"/>
                  </a:cubicBezTo>
                  <a:cubicBezTo>
                    <a:pt x="809" y="506"/>
                    <a:pt x="809" y="506"/>
                    <a:pt x="809" y="506"/>
                  </a:cubicBezTo>
                  <a:cubicBezTo>
                    <a:pt x="809" y="520"/>
                    <a:pt x="821" y="532"/>
                    <a:pt x="835" y="532"/>
                  </a:cubicBezTo>
                  <a:cubicBezTo>
                    <a:pt x="940" y="532"/>
                    <a:pt x="940" y="532"/>
                    <a:pt x="940" y="532"/>
                  </a:cubicBezTo>
                  <a:cubicBezTo>
                    <a:pt x="954" y="532"/>
                    <a:pt x="965" y="520"/>
                    <a:pt x="965" y="506"/>
                  </a:cubicBezTo>
                  <a:cubicBezTo>
                    <a:pt x="965" y="401"/>
                    <a:pt x="965" y="401"/>
                    <a:pt x="965" y="401"/>
                  </a:cubicBezTo>
                  <a:cubicBezTo>
                    <a:pt x="965" y="387"/>
                    <a:pt x="954" y="376"/>
                    <a:pt x="940" y="376"/>
                  </a:cubicBezTo>
                  <a:close/>
                  <a:moveTo>
                    <a:pt x="738" y="376"/>
                  </a:moveTo>
                  <a:cubicBezTo>
                    <a:pt x="633" y="376"/>
                    <a:pt x="633" y="376"/>
                    <a:pt x="633" y="376"/>
                  </a:cubicBezTo>
                  <a:cubicBezTo>
                    <a:pt x="619" y="376"/>
                    <a:pt x="607" y="387"/>
                    <a:pt x="607" y="401"/>
                  </a:cubicBezTo>
                  <a:cubicBezTo>
                    <a:pt x="607" y="506"/>
                    <a:pt x="607" y="506"/>
                    <a:pt x="607" y="506"/>
                  </a:cubicBezTo>
                  <a:cubicBezTo>
                    <a:pt x="607" y="520"/>
                    <a:pt x="619" y="532"/>
                    <a:pt x="633" y="532"/>
                  </a:cubicBezTo>
                  <a:cubicBezTo>
                    <a:pt x="738" y="532"/>
                    <a:pt x="738" y="532"/>
                    <a:pt x="738" y="532"/>
                  </a:cubicBezTo>
                  <a:cubicBezTo>
                    <a:pt x="752" y="532"/>
                    <a:pt x="763" y="520"/>
                    <a:pt x="763" y="506"/>
                  </a:cubicBezTo>
                  <a:cubicBezTo>
                    <a:pt x="763" y="401"/>
                    <a:pt x="763" y="401"/>
                    <a:pt x="763" y="401"/>
                  </a:cubicBezTo>
                  <a:cubicBezTo>
                    <a:pt x="763" y="387"/>
                    <a:pt x="752" y="376"/>
                    <a:pt x="738" y="376"/>
                  </a:cubicBezTo>
                  <a:close/>
                  <a:moveTo>
                    <a:pt x="538" y="376"/>
                  </a:moveTo>
                  <a:cubicBezTo>
                    <a:pt x="433" y="376"/>
                    <a:pt x="433" y="376"/>
                    <a:pt x="433" y="376"/>
                  </a:cubicBezTo>
                  <a:cubicBezTo>
                    <a:pt x="419" y="376"/>
                    <a:pt x="408" y="387"/>
                    <a:pt x="408" y="401"/>
                  </a:cubicBezTo>
                  <a:cubicBezTo>
                    <a:pt x="408" y="506"/>
                    <a:pt x="408" y="506"/>
                    <a:pt x="408" y="506"/>
                  </a:cubicBezTo>
                  <a:cubicBezTo>
                    <a:pt x="408" y="520"/>
                    <a:pt x="419" y="532"/>
                    <a:pt x="433" y="532"/>
                  </a:cubicBezTo>
                  <a:cubicBezTo>
                    <a:pt x="538" y="532"/>
                    <a:pt x="538" y="532"/>
                    <a:pt x="538" y="532"/>
                  </a:cubicBezTo>
                  <a:cubicBezTo>
                    <a:pt x="553" y="532"/>
                    <a:pt x="564" y="520"/>
                    <a:pt x="564" y="506"/>
                  </a:cubicBezTo>
                  <a:cubicBezTo>
                    <a:pt x="564" y="401"/>
                    <a:pt x="564" y="401"/>
                    <a:pt x="564" y="401"/>
                  </a:cubicBezTo>
                  <a:cubicBezTo>
                    <a:pt x="564" y="387"/>
                    <a:pt x="553" y="376"/>
                    <a:pt x="538" y="376"/>
                  </a:cubicBezTo>
                  <a:close/>
                  <a:moveTo>
                    <a:pt x="232" y="532"/>
                  </a:moveTo>
                  <a:cubicBezTo>
                    <a:pt x="337" y="532"/>
                    <a:pt x="337" y="532"/>
                    <a:pt x="337" y="532"/>
                  </a:cubicBezTo>
                  <a:cubicBezTo>
                    <a:pt x="351" y="532"/>
                    <a:pt x="363" y="520"/>
                    <a:pt x="363" y="506"/>
                  </a:cubicBezTo>
                  <a:cubicBezTo>
                    <a:pt x="363" y="401"/>
                    <a:pt x="363" y="401"/>
                    <a:pt x="363" y="401"/>
                  </a:cubicBezTo>
                  <a:cubicBezTo>
                    <a:pt x="363" y="387"/>
                    <a:pt x="351" y="376"/>
                    <a:pt x="337" y="376"/>
                  </a:cubicBezTo>
                  <a:cubicBezTo>
                    <a:pt x="232" y="376"/>
                    <a:pt x="232" y="376"/>
                    <a:pt x="232" y="376"/>
                  </a:cubicBezTo>
                  <a:cubicBezTo>
                    <a:pt x="218" y="376"/>
                    <a:pt x="207" y="387"/>
                    <a:pt x="207" y="401"/>
                  </a:cubicBezTo>
                  <a:cubicBezTo>
                    <a:pt x="207" y="506"/>
                    <a:pt x="207" y="506"/>
                    <a:pt x="207" y="506"/>
                  </a:cubicBezTo>
                  <a:cubicBezTo>
                    <a:pt x="207" y="520"/>
                    <a:pt x="218" y="532"/>
                    <a:pt x="232" y="532"/>
                  </a:cubicBezTo>
                  <a:close/>
                  <a:moveTo>
                    <a:pt x="36" y="532"/>
                  </a:moveTo>
                  <a:cubicBezTo>
                    <a:pt x="141" y="532"/>
                    <a:pt x="141" y="532"/>
                    <a:pt x="141" y="532"/>
                  </a:cubicBezTo>
                  <a:cubicBezTo>
                    <a:pt x="155" y="532"/>
                    <a:pt x="166" y="520"/>
                    <a:pt x="166" y="506"/>
                  </a:cubicBezTo>
                  <a:cubicBezTo>
                    <a:pt x="166" y="401"/>
                    <a:pt x="166" y="401"/>
                    <a:pt x="166" y="401"/>
                  </a:cubicBezTo>
                  <a:cubicBezTo>
                    <a:pt x="166" y="387"/>
                    <a:pt x="155" y="376"/>
                    <a:pt x="141" y="376"/>
                  </a:cubicBezTo>
                  <a:cubicBezTo>
                    <a:pt x="36" y="376"/>
                    <a:pt x="36" y="376"/>
                    <a:pt x="36" y="376"/>
                  </a:cubicBezTo>
                  <a:cubicBezTo>
                    <a:pt x="22" y="376"/>
                    <a:pt x="10" y="387"/>
                    <a:pt x="10" y="401"/>
                  </a:cubicBezTo>
                  <a:cubicBezTo>
                    <a:pt x="10" y="506"/>
                    <a:pt x="10" y="506"/>
                    <a:pt x="10" y="506"/>
                  </a:cubicBezTo>
                  <a:cubicBezTo>
                    <a:pt x="10" y="520"/>
                    <a:pt x="22" y="532"/>
                    <a:pt x="36" y="532"/>
                  </a:cubicBezTo>
                  <a:close/>
                  <a:moveTo>
                    <a:pt x="2929" y="184"/>
                  </a:moveTo>
                  <a:cubicBezTo>
                    <a:pt x="2824" y="184"/>
                    <a:pt x="2824" y="184"/>
                    <a:pt x="2824" y="184"/>
                  </a:cubicBezTo>
                  <a:cubicBezTo>
                    <a:pt x="2810" y="184"/>
                    <a:pt x="2798" y="196"/>
                    <a:pt x="2798" y="210"/>
                  </a:cubicBezTo>
                  <a:cubicBezTo>
                    <a:pt x="2798" y="315"/>
                    <a:pt x="2798" y="315"/>
                    <a:pt x="2798" y="315"/>
                  </a:cubicBezTo>
                  <a:cubicBezTo>
                    <a:pt x="2798" y="329"/>
                    <a:pt x="2810" y="340"/>
                    <a:pt x="2824" y="340"/>
                  </a:cubicBezTo>
                  <a:cubicBezTo>
                    <a:pt x="2929" y="340"/>
                    <a:pt x="2929" y="340"/>
                    <a:pt x="2929" y="340"/>
                  </a:cubicBezTo>
                  <a:cubicBezTo>
                    <a:pt x="2943" y="340"/>
                    <a:pt x="2954" y="329"/>
                    <a:pt x="2954" y="315"/>
                  </a:cubicBezTo>
                  <a:cubicBezTo>
                    <a:pt x="2954" y="210"/>
                    <a:pt x="2954" y="210"/>
                    <a:pt x="2954" y="210"/>
                  </a:cubicBezTo>
                  <a:cubicBezTo>
                    <a:pt x="2954" y="196"/>
                    <a:pt x="2943" y="184"/>
                    <a:pt x="2929" y="184"/>
                  </a:cubicBezTo>
                  <a:close/>
                  <a:moveTo>
                    <a:pt x="2729" y="184"/>
                  </a:moveTo>
                  <a:cubicBezTo>
                    <a:pt x="2624" y="184"/>
                    <a:pt x="2624" y="184"/>
                    <a:pt x="2624" y="184"/>
                  </a:cubicBezTo>
                  <a:cubicBezTo>
                    <a:pt x="2610" y="184"/>
                    <a:pt x="2599" y="196"/>
                    <a:pt x="2599" y="210"/>
                  </a:cubicBezTo>
                  <a:cubicBezTo>
                    <a:pt x="2599" y="315"/>
                    <a:pt x="2599" y="315"/>
                    <a:pt x="2599" y="315"/>
                  </a:cubicBezTo>
                  <a:cubicBezTo>
                    <a:pt x="2599" y="329"/>
                    <a:pt x="2610" y="340"/>
                    <a:pt x="2624" y="340"/>
                  </a:cubicBezTo>
                  <a:cubicBezTo>
                    <a:pt x="2729" y="340"/>
                    <a:pt x="2729" y="340"/>
                    <a:pt x="2729" y="340"/>
                  </a:cubicBezTo>
                  <a:cubicBezTo>
                    <a:pt x="2743" y="340"/>
                    <a:pt x="2755" y="329"/>
                    <a:pt x="2755" y="315"/>
                  </a:cubicBezTo>
                  <a:cubicBezTo>
                    <a:pt x="2755" y="210"/>
                    <a:pt x="2755" y="210"/>
                    <a:pt x="2755" y="210"/>
                  </a:cubicBezTo>
                  <a:cubicBezTo>
                    <a:pt x="2755" y="196"/>
                    <a:pt x="2743" y="184"/>
                    <a:pt x="2729" y="184"/>
                  </a:cubicBezTo>
                  <a:close/>
                  <a:moveTo>
                    <a:pt x="2530" y="184"/>
                  </a:moveTo>
                  <a:cubicBezTo>
                    <a:pt x="2425" y="184"/>
                    <a:pt x="2425" y="184"/>
                    <a:pt x="2425" y="184"/>
                  </a:cubicBezTo>
                  <a:cubicBezTo>
                    <a:pt x="2411" y="184"/>
                    <a:pt x="2400" y="196"/>
                    <a:pt x="2400" y="210"/>
                  </a:cubicBezTo>
                  <a:cubicBezTo>
                    <a:pt x="2400" y="315"/>
                    <a:pt x="2400" y="315"/>
                    <a:pt x="2400" y="315"/>
                  </a:cubicBezTo>
                  <a:cubicBezTo>
                    <a:pt x="2400" y="329"/>
                    <a:pt x="2411" y="340"/>
                    <a:pt x="2425" y="340"/>
                  </a:cubicBezTo>
                  <a:cubicBezTo>
                    <a:pt x="2530" y="340"/>
                    <a:pt x="2530" y="340"/>
                    <a:pt x="2530" y="340"/>
                  </a:cubicBezTo>
                  <a:cubicBezTo>
                    <a:pt x="2544" y="340"/>
                    <a:pt x="2556" y="329"/>
                    <a:pt x="2556" y="315"/>
                  </a:cubicBezTo>
                  <a:cubicBezTo>
                    <a:pt x="2556" y="210"/>
                    <a:pt x="2556" y="210"/>
                    <a:pt x="2556" y="210"/>
                  </a:cubicBezTo>
                  <a:cubicBezTo>
                    <a:pt x="2556" y="196"/>
                    <a:pt x="2544" y="184"/>
                    <a:pt x="2530" y="184"/>
                  </a:cubicBezTo>
                  <a:close/>
                  <a:moveTo>
                    <a:pt x="2332" y="184"/>
                  </a:moveTo>
                  <a:cubicBezTo>
                    <a:pt x="2227" y="184"/>
                    <a:pt x="2227" y="184"/>
                    <a:pt x="2227" y="184"/>
                  </a:cubicBezTo>
                  <a:cubicBezTo>
                    <a:pt x="2213" y="184"/>
                    <a:pt x="2202" y="196"/>
                    <a:pt x="2202" y="210"/>
                  </a:cubicBezTo>
                  <a:cubicBezTo>
                    <a:pt x="2202" y="315"/>
                    <a:pt x="2202" y="315"/>
                    <a:pt x="2202" y="315"/>
                  </a:cubicBezTo>
                  <a:cubicBezTo>
                    <a:pt x="2202" y="329"/>
                    <a:pt x="2213" y="340"/>
                    <a:pt x="2227" y="340"/>
                  </a:cubicBezTo>
                  <a:cubicBezTo>
                    <a:pt x="2332" y="340"/>
                    <a:pt x="2332" y="340"/>
                    <a:pt x="2332" y="340"/>
                  </a:cubicBezTo>
                  <a:cubicBezTo>
                    <a:pt x="2346" y="340"/>
                    <a:pt x="2358" y="329"/>
                    <a:pt x="2358" y="315"/>
                  </a:cubicBezTo>
                  <a:cubicBezTo>
                    <a:pt x="2358" y="210"/>
                    <a:pt x="2358" y="210"/>
                    <a:pt x="2358" y="210"/>
                  </a:cubicBezTo>
                  <a:cubicBezTo>
                    <a:pt x="2358" y="196"/>
                    <a:pt x="2346" y="184"/>
                    <a:pt x="2332" y="184"/>
                  </a:cubicBezTo>
                  <a:close/>
                  <a:moveTo>
                    <a:pt x="2132" y="184"/>
                  </a:moveTo>
                  <a:cubicBezTo>
                    <a:pt x="2026" y="184"/>
                    <a:pt x="2026" y="184"/>
                    <a:pt x="2026" y="184"/>
                  </a:cubicBezTo>
                  <a:cubicBezTo>
                    <a:pt x="2012" y="184"/>
                    <a:pt x="2001" y="196"/>
                    <a:pt x="2001" y="210"/>
                  </a:cubicBezTo>
                  <a:cubicBezTo>
                    <a:pt x="2001" y="315"/>
                    <a:pt x="2001" y="315"/>
                    <a:pt x="2001" y="315"/>
                  </a:cubicBezTo>
                  <a:cubicBezTo>
                    <a:pt x="2001" y="329"/>
                    <a:pt x="2012" y="340"/>
                    <a:pt x="2026" y="340"/>
                  </a:cubicBezTo>
                  <a:cubicBezTo>
                    <a:pt x="2132" y="340"/>
                    <a:pt x="2132" y="340"/>
                    <a:pt x="2132" y="340"/>
                  </a:cubicBezTo>
                  <a:cubicBezTo>
                    <a:pt x="2146" y="340"/>
                    <a:pt x="2157" y="329"/>
                    <a:pt x="2157" y="315"/>
                  </a:cubicBezTo>
                  <a:cubicBezTo>
                    <a:pt x="2157" y="210"/>
                    <a:pt x="2157" y="210"/>
                    <a:pt x="2157" y="210"/>
                  </a:cubicBezTo>
                  <a:cubicBezTo>
                    <a:pt x="2157" y="196"/>
                    <a:pt x="2146" y="184"/>
                    <a:pt x="2132" y="184"/>
                  </a:cubicBezTo>
                  <a:close/>
                  <a:moveTo>
                    <a:pt x="1935" y="184"/>
                  </a:moveTo>
                  <a:cubicBezTo>
                    <a:pt x="1830" y="184"/>
                    <a:pt x="1830" y="184"/>
                    <a:pt x="1830" y="184"/>
                  </a:cubicBezTo>
                  <a:cubicBezTo>
                    <a:pt x="1816" y="184"/>
                    <a:pt x="1804" y="196"/>
                    <a:pt x="1804" y="210"/>
                  </a:cubicBezTo>
                  <a:cubicBezTo>
                    <a:pt x="1804" y="315"/>
                    <a:pt x="1804" y="315"/>
                    <a:pt x="1804" y="315"/>
                  </a:cubicBezTo>
                  <a:cubicBezTo>
                    <a:pt x="1804" y="329"/>
                    <a:pt x="1816" y="340"/>
                    <a:pt x="1830" y="340"/>
                  </a:cubicBezTo>
                  <a:cubicBezTo>
                    <a:pt x="1935" y="340"/>
                    <a:pt x="1935" y="340"/>
                    <a:pt x="1935" y="340"/>
                  </a:cubicBezTo>
                  <a:cubicBezTo>
                    <a:pt x="1949" y="340"/>
                    <a:pt x="1960" y="329"/>
                    <a:pt x="1960" y="315"/>
                  </a:cubicBezTo>
                  <a:cubicBezTo>
                    <a:pt x="1960" y="210"/>
                    <a:pt x="1960" y="210"/>
                    <a:pt x="1960" y="210"/>
                  </a:cubicBezTo>
                  <a:cubicBezTo>
                    <a:pt x="1960" y="196"/>
                    <a:pt x="1949" y="184"/>
                    <a:pt x="1935" y="184"/>
                  </a:cubicBezTo>
                  <a:close/>
                  <a:moveTo>
                    <a:pt x="1734" y="184"/>
                  </a:moveTo>
                  <a:cubicBezTo>
                    <a:pt x="1629" y="184"/>
                    <a:pt x="1629" y="184"/>
                    <a:pt x="1629" y="184"/>
                  </a:cubicBezTo>
                  <a:cubicBezTo>
                    <a:pt x="1615" y="184"/>
                    <a:pt x="1603" y="196"/>
                    <a:pt x="1603" y="210"/>
                  </a:cubicBezTo>
                  <a:cubicBezTo>
                    <a:pt x="1603" y="315"/>
                    <a:pt x="1603" y="315"/>
                    <a:pt x="1603" y="315"/>
                  </a:cubicBezTo>
                  <a:cubicBezTo>
                    <a:pt x="1603" y="329"/>
                    <a:pt x="1615" y="340"/>
                    <a:pt x="1629" y="340"/>
                  </a:cubicBezTo>
                  <a:cubicBezTo>
                    <a:pt x="1734" y="340"/>
                    <a:pt x="1734" y="340"/>
                    <a:pt x="1734" y="340"/>
                  </a:cubicBezTo>
                  <a:cubicBezTo>
                    <a:pt x="1748" y="340"/>
                    <a:pt x="1759" y="329"/>
                    <a:pt x="1759" y="315"/>
                  </a:cubicBezTo>
                  <a:cubicBezTo>
                    <a:pt x="1759" y="210"/>
                    <a:pt x="1759" y="210"/>
                    <a:pt x="1759" y="210"/>
                  </a:cubicBezTo>
                  <a:cubicBezTo>
                    <a:pt x="1759" y="196"/>
                    <a:pt x="1748" y="184"/>
                    <a:pt x="1734" y="184"/>
                  </a:cubicBezTo>
                  <a:close/>
                  <a:moveTo>
                    <a:pt x="1535" y="184"/>
                  </a:moveTo>
                  <a:cubicBezTo>
                    <a:pt x="1430" y="184"/>
                    <a:pt x="1430" y="184"/>
                    <a:pt x="1430" y="184"/>
                  </a:cubicBezTo>
                  <a:cubicBezTo>
                    <a:pt x="1416" y="184"/>
                    <a:pt x="1404" y="196"/>
                    <a:pt x="1404" y="210"/>
                  </a:cubicBezTo>
                  <a:cubicBezTo>
                    <a:pt x="1404" y="315"/>
                    <a:pt x="1404" y="315"/>
                    <a:pt x="1404" y="315"/>
                  </a:cubicBezTo>
                  <a:cubicBezTo>
                    <a:pt x="1404" y="329"/>
                    <a:pt x="1416" y="340"/>
                    <a:pt x="1430" y="340"/>
                  </a:cubicBezTo>
                  <a:cubicBezTo>
                    <a:pt x="1535" y="340"/>
                    <a:pt x="1535" y="340"/>
                    <a:pt x="1535" y="340"/>
                  </a:cubicBezTo>
                  <a:cubicBezTo>
                    <a:pt x="1549" y="340"/>
                    <a:pt x="1560" y="329"/>
                    <a:pt x="1560" y="315"/>
                  </a:cubicBezTo>
                  <a:cubicBezTo>
                    <a:pt x="1560" y="210"/>
                    <a:pt x="1560" y="210"/>
                    <a:pt x="1560" y="210"/>
                  </a:cubicBezTo>
                  <a:cubicBezTo>
                    <a:pt x="1560" y="196"/>
                    <a:pt x="1549" y="184"/>
                    <a:pt x="1535" y="184"/>
                  </a:cubicBezTo>
                  <a:close/>
                  <a:moveTo>
                    <a:pt x="1336" y="184"/>
                  </a:moveTo>
                  <a:cubicBezTo>
                    <a:pt x="1231" y="184"/>
                    <a:pt x="1231" y="184"/>
                    <a:pt x="1231" y="184"/>
                  </a:cubicBezTo>
                  <a:cubicBezTo>
                    <a:pt x="1217" y="184"/>
                    <a:pt x="1206" y="196"/>
                    <a:pt x="1206" y="210"/>
                  </a:cubicBezTo>
                  <a:cubicBezTo>
                    <a:pt x="1206" y="315"/>
                    <a:pt x="1206" y="315"/>
                    <a:pt x="1206" y="315"/>
                  </a:cubicBezTo>
                  <a:cubicBezTo>
                    <a:pt x="1206" y="329"/>
                    <a:pt x="1217" y="340"/>
                    <a:pt x="1231" y="340"/>
                  </a:cubicBezTo>
                  <a:cubicBezTo>
                    <a:pt x="1336" y="340"/>
                    <a:pt x="1336" y="340"/>
                    <a:pt x="1336" y="340"/>
                  </a:cubicBezTo>
                  <a:cubicBezTo>
                    <a:pt x="1350" y="340"/>
                    <a:pt x="1362" y="329"/>
                    <a:pt x="1362" y="315"/>
                  </a:cubicBezTo>
                  <a:cubicBezTo>
                    <a:pt x="1362" y="210"/>
                    <a:pt x="1362" y="210"/>
                    <a:pt x="1362" y="210"/>
                  </a:cubicBezTo>
                  <a:cubicBezTo>
                    <a:pt x="1362" y="196"/>
                    <a:pt x="1350" y="184"/>
                    <a:pt x="1336" y="184"/>
                  </a:cubicBezTo>
                  <a:close/>
                  <a:moveTo>
                    <a:pt x="1140" y="184"/>
                  </a:moveTo>
                  <a:cubicBezTo>
                    <a:pt x="1035" y="184"/>
                    <a:pt x="1035" y="184"/>
                    <a:pt x="1035" y="184"/>
                  </a:cubicBezTo>
                  <a:cubicBezTo>
                    <a:pt x="1020" y="184"/>
                    <a:pt x="1009" y="196"/>
                    <a:pt x="1009" y="210"/>
                  </a:cubicBezTo>
                  <a:cubicBezTo>
                    <a:pt x="1009" y="315"/>
                    <a:pt x="1009" y="315"/>
                    <a:pt x="1009" y="315"/>
                  </a:cubicBezTo>
                  <a:cubicBezTo>
                    <a:pt x="1009" y="329"/>
                    <a:pt x="1020" y="340"/>
                    <a:pt x="1035" y="340"/>
                  </a:cubicBezTo>
                  <a:cubicBezTo>
                    <a:pt x="1140" y="340"/>
                    <a:pt x="1140" y="340"/>
                    <a:pt x="1140" y="340"/>
                  </a:cubicBezTo>
                  <a:cubicBezTo>
                    <a:pt x="1154" y="340"/>
                    <a:pt x="1165" y="329"/>
                    <a:pt x="1165" y="315"/>
                  </a:cubicBezTo>
                  <a:cubicBezTo>
                    <a:pt x="1165" y="210"/>
                    <a:pt x="1165" y="210"/>
                    <a:pt x="1165" y="210"/>
                  </a:cubicBezTo>
                  <a:cubicBezTo>
                    <a:pt x="1165" y="196"/>
                    <a:pt x="1154" y="184"/>
                    <a:pt x="1140" y="184"/>
                  </a:cubicBezTo>
                  <a:close/>
                  <a:moveTo>
                    <a:pt x="940" y="184"/>
                  </a:moveTo>
                  <a:cubicBezTo>
                    <a:pt x="835" y="184"/>
                    <a:pt x="835" y="184"/>
                    <a:pt x="835" y="184"/>
                  </a:cubicBezTo>
                  <a:cubicBezTo>
                    <a:pt x="821" y="184"/>
                    <a:pt x="809" y="196"/>
                    <a:pt x="809" y="210"/>
                  </a:cubicBezTo>
                  <a:cubicBezTo>
                    <a:pt x="809" y="315"/>
                    <a:pt x="809" y="315"/>
                    <a:pt x="809" y="315"/>
                  </a:cubicBezTo>
                  <a:cubicBezTo>
                    <a:pt x="809" y="329"/>
                    <a:pt x="821" y="340"/>
                    <a:pt x="835" y="340"/>
                  </a:cubicBezTo>
                  <a:cubicBezTo>
                    <a:pt x="940" y="340"/>
                    <a:pt x="940" y="340"/>
                    <a:pt x="940" y="340"/>
                  </a:cubicBezTo>
                  <a:cubicBezTo>
                    <a:pt x="954" y="340"/>
                    <a:pt x="965" y="329"/>
                    <a:pt x="965" y="315"/>
                  </a:cubicBezTo>
                  <a:cubicBezTo>
                    <a:pt x="965" y="210"/>
                    <a:pt x="965" y="210"/>
                    <a:pt x="965" y="210"/>
                  </a:cubicBezTo>
                  <a:cubicBezTo>
                    <a:pt x="965" y="196"/>
                    <a:pt x="954" y="184"/>
                    <a:pt x="940" y="184"/>
                  </a:cubicBezTo>
                  <a:close/>
                  <a:moveTo>
                    <a:pt x="738" y="184"/>
                  </a:moveTo>
                  <a:cubicBezTo>
                    <a:pt x="633" y="184"/>
                    <a:pt x="633" y="184"/>
                    <a:pt x="633" y="184"/>
                  </a:cubicBezTo>
                  <a:cubicBezTo>
                    <a:pt x="619" y="184"/>
                    <a:pt x="607" y="196"/>
                    <a:pt x="607" y="210"/>
                  </a:cubicBezTo>
                  <a:cubicBezTo>
                    <a:pt x="607" y="315"/>
                    <a:pt x="607" y="315"/>
                    <a:pt x="607" y="315"/>
                  </a:cubicBezTo>
                  <a:cubicBezTo>
                    <a:pt x="607" y="329"/>
                    <a:pt x="619" y="340"/>
                    <a:pt x="633" y="340"/>
                  </a:cubicBezTo>
                  <a:cubicBezTo>
                    <a:pt x="738" y="340"/>
                    <a:pt x="738" y="340"/>
                    <a:pt x="738" y="340"/>
                  </a:cubicBezTo>
                  <a:cubicBezTo>
                    <a:pt x="752" y="340"/>
                    <a:pt x="763" y="329"/>
                    <a:pt x="763" y="315"/>
                  </a:cubicBezTo>
                  <a:cubicBezTo>
                    <a:pt x="763" y="210"/>
                    <a:pt x="763" y="210"/>
                    <a:pt x="763" y="210"/>
                  </a:cubicBezTo>
                  <a:cubicBezTo>
                    <a:pt x="763" y="196"/>
                    <a:pt x="752" y="184"/>
                    <a:pt x="738" y="184"/>
                  </a:cubicBezTo>
                  <a:close/>
                  <a:moveTo>
                    <a:pt x="538" y="184"/>
                  </a:moveTo>
                  <a:cubicBezTo>
                    <a:pt x="433" y="184"/>
                    <a:pt x="433" y="184"/>
                    <a:pt x="433" y="184"/>
                  </a:cubicBezTo>
                  <a:cubicBezTo>
                    <a:pt x="419" y="184"/>
                    <a:pt x="408" y="196"/>
                    <a:pt x="408" y="210"/>
                  </a:cubicBezTo>
                  <a:cubicBezTo>
                    <a:pt x="408" y="315"/>
                    <a:pt x="408" y="315"/>
                    <a:pt x="408" y="315"/>
                  </a:cubicBezTo>
                  <a:cubicBezTo>
                    <a:pt x="408" y="329"/>
                    <a:pt x="419" y="340"/>
                    <a:pt x="433" y="340"/>
                  </a:cubicBezTo>
                  <a:cubicBezTo>
                    <a:pt x="538" y="340"/>
                    <a:pt x="538" y="340"/>
                    <a:pt x="538" y="340"/>
                  </a:cubicBezTo>
                  <a:cubicBezTo>
                    <a:pt x="553" y="340"/>
                    <a:pt x="564" y="329"/>
                    <a:pt x="564" y="315"/>
                  </a:cubicBezTo>
                  <a:cubicBezTo>
                    <a:pt x="564" y="210"/>
                    <a:pt x="564" y="210"/>
                    <a:pt x="564" y="210"/>
                  </a:cubicBezTo>
                  <a:cubicBezTo>
                    <a:pt x="564" y="196"/>
                    <a:pt x="553" y="184"/>
                    <a:pt x="538" y="184"/>
                  </a:cubicBezTo>
                  <a:close/>
                  <a:moveTo>
                    <a:pt x="232" y="340"/>
                  </a:moveTo>
                  <a:cubicBezTo>
                    <a:pt x="337" y="340"/>
                    <a:pt x="337" y="340"/>
                    <a:pt x="337" y="340"/>
                  </a:cubicBezTo>
                  <a:cubicBezTo>
                    <a:pt x="351" y="340"/>
                    <a:pt x="363" y="329"/>
                    <a:pt x="363" y="315"/>
                  </a:cubicBezTo>
                  <a:cubicBezTo>
                    <a:pt x="363" y="210"/>
                    <a:pt x="363" y="210"/>
                    <a:pt x="363" y="210"/>
                  </a:cubicBezTo>
                  <a:cubicBezTo>
                    <a:pt x="363" y="196"/>
                    <a:pt x="351" y="184"/>
                    <a:pt x="337" y="184"/>
                  </a:cubicBezTo>
                  <a:cubicBezTo>
                    <a:pt x="232" y="184"/>
                    <a:pt x="232" y="184"/>
                    <a:pt x="232" y="184"/>
                  </a:cubicBezTo>
                  <a:cubicBezTo>
                    <a:pt x="218" y="184"/>
                    <a:pt x="207" y="196"/>
                    <a:pt x="207" y="210"/>
                  </a:cubicBezTo>
                  <a:cubicBezTo>
                    <a:pt x="207" y="315"/>
                    <a:pt x="207" y="315"/>
                    <a:pt x="207" y="315"/>
                  </a:cubicBezTo>
                  <a:cubicBezTo>
                    <a:pt x="207" y="329"/>
                    <a:pt x="218" y="340"/>
                    <a:pt x="232" y="340"/>
                  </a:cubicBezTo>
                  <a:close/>
                  <a:moveTo>
                    <a:pt x="36" y="340"/>
                  </a:moveTo>
                  <a:cubicBezTo>
                    <a:pt x="141" y="340"/>
                    <a:pt x="141" y="340"/>
                    <a:pt x="141" y="340"/>
                  </a:cubicBezTo>
                  <a:cubicBezTo>
                    <a:pt x="155" y="340"/>
                    <a:pt x="166" y="329"/>
                    <a:pt x="166" y="315"/>
                  </a:cubicBezTo>
                  <a:cubicBezTo>
                    <a:pt x="166" y="210"/>
                    <a:pt x="166" y="210"/>
                    <a:pt x="166" y="210"/>
                  </a:cubicBezTo>
                  <a:cubicBezTo>
                    <a:pt x="166" y="196"/>
                    <a:pt x="155" y="184"/>
                    <a:pt x="141" y="184"/>
                  </a:cubicBezTo>
                  <a:cubicBezTo>
                    <a:pt x="36" y="184"/>
                    <a:pt x="36" y="184"/>
                    <a:pt x="36" y="184"/>
                  </a:cubicBezTo>
                  <a:cubicBezTo>
                    <a:pt x="22" y="184"/>
                    <a:pt x="10" y="196"/>
                    <a:pt x="10" y="210"/>
                  </a:cubicBezTo>
                  <a:cubicBezTo>
                    <a:pt x="10" y="315"/>
                    <a:pt x="10" y="315"/>
                    <a:pt x="10" y="315"/>
                  </a:cubicBezTo>
                  <a:cubicBezTo>
                    <a:pt x="10" y="329"/>
                    <a:pt x="22" y="340"/>
                    <a:pt x="36" y="340"/>
                  </a:cubicBezTo>
                  <a:close/>
                  <a:moveTo>
                    <a:pt x="2829" y="141"/>
                  </a:moveTo>
                  <a:cubicBezTo>
                    <a:pt x="2924" y="141"/>
                    <a:pt x="2924" y="141"/>
                    <a:pt x="2924" y="141"/>
                  </a:cubicBezTo>
                  <a:cubicBezTo>
                    <a:pt x="2936" y="141"/>
                    <a:pt x="2947" y="130"/>
                    <a:pt x="2947" y="118"/>
                  </a:cubicBezTo>
                  <a:cubicBezTo>
                    <a:pt x="2947" y="23"/>
                    <a:pt x="2947" y="23"/>
                    <a:pt x="2947" y="23"/>
                  </a:cubicBezTo>
                  <a:cubicBezTo>
                    <a:pt x="2947" y="11"/>
                    <a:pt x="2936" y="0"/>
                    <a:pt x="2924" y="0"/>
                  </a:cubicBezTo>
                  <a:cubicBezTo>
                    <a:pt x="2829" y="0"/>
                    <a:pt x="2829" y="0"/>
                    <a:pt x="2829" y="0"/>
                  </a:cubicBezTo>
                  <a:cubicBezTo>
                    <a:pt x="2816" y="0"/>
                    <a:pt x="2806" y="11"/>
                    <a:pt x="2806" y="23"/>
                  </a:cubicBezTo>
                  <a:cubicBezTo>
                    <a:pt x="2806" y="118"/>
                    <a:pt x="2806" y="118"/>
                    <a:pt x="2806" y="118"/>
                  </a:cubicBezTo>
                  <a:cubicBezTo>
                    <a:pt x="2806" y="130"/>
                    <a:pt x="2816" y="141"/>
                    <a:pt x="2829" y="141"/>
                  </a:cubicBezTo>
                  <a:close/>
                  <a:moveTo>
                    <a:pt x="2629" y="141"/>
                  </a:moveTo>
                  <a:cubicBezTo>
                    <a:pt x="2724" y="141"/>
                    <a:pt x="2724" y="141"/>
                    <a:pt x="2724" y="141"/>
                  </a:cubicBezTo>
                  <a:cubicBezTo>
                    <a:pt x="2736" y="141"/>
                    <a:pt x="2747" y="130"/>
                    <a:pt x="2747" y="118"/>
                  </a:cubicBezTo>
                  <a:cubicBezTo>
                    <a:pt x="2747" y="23"/>
                    <a:pt x="2747" y="23"/>
                    <a:pt x="2747" y="23"/>
                  </a:cubicBezTo>
                  <a:cubicBezTo>
                    <a:pt x="2747" y="11"/>
                    <a:pt x="2736" y="0"/>
                    <a:pt x="2724" y="0"/>
                  </a:cubicBezTo>
                  <a:cubicBezTo>
                    <a:pt x="2629" y="0"/>
                    <a:pt x="2629" y="0"/>
                    <a:pt x="2629" y="0"/>
                  </a:cubicBezTo>
                  <a:cubicBezTo>
                    <a:pt x="2617" y="0"/>
                    <a:pt x="2606" y="11"/>
                    <a:pt x="2606" y="23"/>
                  </a:cubicBezTo>
                  <a:cubicBezTo>
                    <a:pt x="2606" y="118"/>
                    <a:pt x="2606" y="118"/>
                    <a:pt x="2606" y="118"/>
                  </a:cubicBezTo>
                  <a:cubicBezTo>
                    <a:pt x="2606" y="130"/>
                    <a:pt x="2617" y="141"/>
                    <a:pt x="2629" y="141"/>
                  </a:cubicBezTo>
                  <a:close/>
                  <a:moveTo>
                    <a:pt x="2430" y="141"/>
                  </a:moveTo>
                  <a:cubicBezTo>
                    <a:pt x="2525" y="141"/>
                    <a:pt x="2525" y="141"/>
                    <a:pt x="2525" y="141"/>
                  </a:cubicBezTo>
                  <a:cubicBezTo>
                    <a:pt x="2538" y="141"/>
                    <a:pt x="2548" y="130"/>
                    <a:pt x="2548" y="118"/>
                  </a:cubicBezTo>
                  <a:cubicBezTo>
                    <a:pt x="2548" y="23"/>
                    <a:pt x="2548" y="23"/>
                    <a:pt x="2548" y="23"/>
                  </a:cubicBezTo>
                  <a:cubicBezTo>
                    <a:pt x="2548" y="11"/>
                    <a:pt x="2538" y="0"/>
                    <a:pt x="2525" y="0"/>
                  </a:cubicBezTo>
                  <a:cubicBezTo>
                    <a:pt x="2430" y="0"/>
                    <a:pt x="2430" y="0"/>
                    <a:pt x="2430" y="0"/>
                  </a:cubicBezTo>
                  <a:cubicBezTo>
                    <a:pt x="2418" y="0"/>
                    <a:pt x="2407" y="11"/>
                    <a:pt x="2407" y="23"/>
                  </a:cubicBezTo>
                  <a:cubicBezTo>
                    <a:pt x="2407" y="118"/>
                    <a:pt x="2407" y="118"/>
                    <a:pt x="2407" y="118"/>
                  </a:cubicBezTo>
                  <a:cubicBezTo>
                    <a:pt x="2407" y="130"/>
                    <a:pt x="2418" y="141"/>
                    <a:pt x="2430" y="141"/>
                  </a:cubicBezTo>
                  <a:close/>
                  <a:moveTo>
                    <a:pt x="2233" y="141"/>
                  </a:moveTo>
                  <a:cubicBezTo>
                    <a:pt x="2327" y="141"/>
                    <a:pt x="2327" y="141"/>
                    <a:pt x="2327" y="141"/>
                  </a:cubicBezTo>
                  <a:cubicBezTo>
                    <a:pt x="2340" y="141"/>
                    <a:pt x="2350" y="130"/>
                    <a:pt x="2350" y="118"/>
                  </a:cubicBezTo>
                  <a:cubicBezTo>
                    <a:pt x="2350" y="23"/>
                    <a:pt x="2350" y="23"/>
                    <a:pt x="2350" y="23"/>
                  </a:cubicBezTo>
                  <a:cubicBezTo>
                    <a:pt x="2350" y="11"/>
                    <a:pt x="2340" y="0"/>
                    <a:pt x="2327" y="0"/>
                  </a:cubicBezTo>
                  <a:cubicBezTo>
                    <a:pt x="2233" y="0"/>
                    <a:pt x="2233" y="0"/>
                    <a:pt x="2233" y="0"/>
                  </a:cubicBezTo>
                  <a:cubicBezTo>
                    <a:pt x="2220" y="0"/>
                    <a:pt x="2210" y="11"/>
                    <a:pt x="2210" y="23"/>
                  </a:cubicBezTo>
                  <a:cubicBezTo>
                    <a:pt x="2210" y="118"/>
                    <a:pt x="2210" y="118"/>
                    <a:pt x="2210" y="118"/>
                  </a:cubicBezTo>
                  <a:cubicBezTo>
                    <a:pt x="2210" y="130"/>
                    <a:pt x="2220" y="141"/>
                    <a:pt x="2233" y="141"/>
                  </a:cubicBezTo>
                  <a:close/>
                  <a:moveTo>
                    <a:pt x="2032" y="141"/>
                  </a:moveTo>
                  <a:cubicBezTo>
                    <a:pt x="2126" y="141"/>
                    <a:pt x="2126" y="141"/>
                    <a:pt x="2126" y="141"/>
                  </a:cubicBezTo>
                  <a:cubicBezTo>
                    <a:pt x="2139" y="141"/>
                    <a:pt x="2149" y="130"/>
                    <a:pt x="2149" y="118"/>
                  </a:cubicBezTo>
                  <a:cubicBezTo>
                    <a:pt x="2149" y="23"/>
                    <a:pt x="2149" y="23"/>
                    <a:pt x="2149" y="23"/>
                  </a:cubicBezTo>
                  <a:cubicBezTo>
                    <a:pt x="2149" y="11"/>
                    <a:pt x="2139" y="0"/>
                    <a:pt x="2126" y="0"/>
                  </a:cubicBezTo>
                  <a:cubicBezTo>
                    <a:pt x="2032" y="0"/>
                    <a:pt x="2032" y="0"/>
                    <a:pt x="2032" y="0"/>
                  </a:cubicBezTo>
                  <a:cubicBezTo>
                    <a:pt x="2019" y="0"/>
                    <a:pt x="2009" y="11"/>
                    <a:pt x="2009" y="23"/>
                  </a:cubicBezTo>
                  <a:cubicBezTo>
                    <a:pt x="2009" y="118"/>
                    <a:pt x="2009" y="118"/>
                    <a:pt x="2009" y="118"/>
                  </a:cubicBezTo>
                  <a:cubicBezTo>
                    <a:pt x="2009" y="130"/>
                    <a:pt x="2019" y="141"/>
                    <a:pt x="2032" y="141"/>
                  </a:cubicBezTo>
                  <a:close/>
                  <a:moveTo>
                    <a:pt x="1835" y="141"/>
                  </a:moveTo>
                  <a:cubicBezTo>
                    <a:pt x="1929" y="141"/>
                    <a:pt x="1929" y="141"/>
                    <a:pt x="1929" y="141"/>
                  </a:cubicBezTo>
                  <a:cubicBezTo>
                    <a:pt x="1942" y="141"/>
                    <a:pt x="1952" y="130"/>
                    <a:pt x="1952" y="118"/>
                  </a:cubicBezTo>
                  <a:cubicBezTo>
                    <a:pt x="1952" y="23"/>
                    <a:pt x="1952" y="23"/>
                    <a:pt x="1952" y="23"/>
                  </a:cubicBezTo>
                  <a:cubicBezTo>
                    <a:pt x="1952" y="11"/>
                    <a:pt x="1942" y="0"/>
                    <a:pt x="1929" y="0"/>
                  </a:cubicBezTo>
                  <a:cubicBezTo>
                    <a:pt x="1835" y="0"/>
                    <a:pt x="1835" y="0"/>
                    <a:pt x="1835" y="0"/>
                  </a:cubicBezTo>
                  <a:cubicBezTo>
                    <a:pt x="1822" y="0"/>
                    <a:pt x="1812" y="11"/>
                    <a:pt x="1812" y="23"/>
                  </a:cubicBezTo>
                  <a:cubicBezTo>
                    <a:pt x="1812" y="118"/>
                    <a:pt x="1812" y="118"/>
                    <a:pt x="1812" y="118"/>
                  </a:cubicBezTo>
                  <a:cubicBezTo>
                    <a:pt x="1812" y="130"/>
                    <a:pt x="1822" y="141"/>
                    <a:pt x="1835" y="141"/>
                  </a:cubicBezTo>
                  <a:close/>
                  <a:moveTo>
                    <a:pt x="1639" y="141"/>
                  </a:moveTo>
                  <a:cubicBezTo>
                    <a:pt x="1734" y="141"/>
                    <a:pt x="1734" y="141"/>
                    <a:pt x="1734" y="141"/>
                  </a:cubicBezTo>
                  <a:cubicBezTo>
                    <a:pt x="1747" y="141"/>
                    <a:pt x="1757" y="130"/>
                    <a:pt x="1757" y="118"/>
                  </a:cubicBezTo>
                  <a:cubicBezTo>
                    <a:pt x="1757" y="23"/>
                    <a:pt x="1757" y="23"/>
                    <a:pt x="1757" y="23"/>
                  </a:cubicBezTo>
                  <a:cubicBezTo>
                    <a:pt x="1757" y="11"/>
                    <a:pt x="1747" y="0"/>
                    <a:pt x="1734" y="0"/>
                  </a:cubicBezTo>
                  <a:cubicBezTo>
                    <a:pt x="1639" y="0"/>
                    <a:pt x="1639" y="0"/>
                    <a:pt x="1639" y="0"/>
                  </a:cubicBezTo>
                  <a:cubicBezTo>
                    <a:pt x="1627" y="0"/>
                    <a:pt x="1616" y="11"/>
                    <a:pt x="1616" y="23"/>
                  </a:cubicBezTo>
                  <a:cubicBezTo>
                    <a:pt x="1616" y="118"/>
                    <a:pt x="1616" y="118"/>
                    <a:pt x="1616" y="118"/>
                  </a:cubicBezTo>
                  <a:cubicBezTo>
                    <a:pt x="1616" y="130"/>
                    <a:pt x="1627" y="141"/>
                    <a:pt x="1639" y="141"/>
                  </a:cubicBezTo>
                  <a:close/>
                  <a:moveTo>
                    <a:pt x="1435" y="141"/>
                  </a:moveTo>
                  <a:cubicBezTo>
                    <a:pt x="1530" y="141"/>
                    <a:pt x="1530" y="141"/>
                    <a:pt x="1530" y="141"/>
                  </a:cubicBezTo>
                  <a:cubicBezTo>
                    <a:pt x="1542" y="141"/>
                    <a:pt x="1553" y="130"/>
                    <a:pt x="1553" y="118"/>
                  </a:cubicBezTo>
                  <a:cubicBezTo>
                    <a:pt x="1553" y="23"/>
                    <a:pt x="1553" y="23"/>
                    <a:pt x="1553" y="23"/>
                  </a:cubicBezTo>
                  <a:cubicBezTo>
                    <a:pt x="1553" y="11"/>
                    <a:pt x="1542" y="0"/>
                    <a:pt x="1530" y="0"/>
                  </a:cubicBezTo>
                  <a:cubicBezTo>
                    <a:pt x="1435" y="0"/>
                    <a:pt x="1435" y="0"/>
                    <a:pt x="1435" y="0"/>
                  </a:cubicBezTo>
                  <a:cubicBezTo>
                    <a:pt x="1423" y="0"/>
                    <a:pt x="1412" y="11"/>
                    <a:pt x="1412" y="23"/>
                  </a:cubicBezTo>
                  <a:cubicBezTo>
                    <a:pt x="1412" y="118"/>
                    <a:pt x="1412" y="118"/>
                    <a:pt x="1412" y="118"/>
                  </a:cubicBezTo>
                  <a:cubicBezTo>
                    <a:pt x="1412" y="130"/>
                    <a:pt x="1423" y="141"/>
                    <a:pt x="1435" y="141"/>
                  </a:cubicBezTo>
                  <a:close/>
                  <a:moveTo>
                    <a:pt x="1236" y="141"/>
                  </a:moveTo>
                  <a:cubicBezTo>
                    <a:pt x="1331" y="141"/>
                    <a:pt x="1331" y="141"/>
                    <a:pt x="1331" y="141"/>
                  </a:cubicBezTo>
                  <a:cubicBezTo>
                    <a:pt x="1344" y="141"/>
                    <a:pt x="1354" y="130"/>
                    <a:pt x="1354" y="118"/>
                  </a:cubicBezTo>
                  <a:cubicBezTo>
                    <a:pt x="1354" y="23"/>
                    <a:pt x="1354" y="23"/>
                    <a:pt x="1354" y="23"/>
                  </a:cubicBezTo>
                  <a:cubicBezTo>
                    <a:pt x="1354" y="11"/>
                    <a:pt x="1344" y="0"/>
                    <a:pt x="1331" y="0"/>
                  </a:cubicBezTo>
                  <a:cubicBezTo>
                    <a:pt x="1236" y="0"/>
                    <a:pt x="1236" y="0"/>
                    <a:pt x="1236" y="0"/>
                  </a:cubicBezTo>
                  <a:cubicBezTo>
                    <a:pt x="1224" y="0"/>
                    <a:pt x="1213" y="11"/>
                    <a:pt x="1213" y="23"/>
                  </a:cubicBezTo>
                  <a:cubicBezTo>
                    <a:pt x="1213" y="118"/>
                    <a:pt x="1213" y="118"/>
                    <a:pt x="1213" y="118"/>
                  </a:cubicBezTo>
                  <a:cubicBezTo>
                    <a:pt x="1213" y="130"/>
                    <a:pt x="1224" y="141"/>
                    <a:pt x="1236" y="141"/>
                  </a:cubicBezTo>
                  <a:close/>
                  <a:moveTo>
                    <a:pt x="1040" y="141"/>
                  </a:moveTo>
                  <a:cubicBezTo>
                    <a:pt x="1134" y="141"/>
                    <a:pt x="1134" y="141"/>
                    <a:pt x="1134" y="141"/>
                  </a:cubicBezTo>
                  <a:cubicBezTo>
                    <a:pt x="1147" y="141"/>
                    <a:pt x="1157" y="130"/>
                    <a:pt x="1157" y="118"/>
                  </a:cubicBezTo>
                  <a:cubicBezTo>
                    <a:pt x="1157" y="23"/>
                    <a:pt x="1157" y="23"/>
                    <a:pt x="1157" y="23"/>
                  </a:cubicBezTo>
                  <a:cubicBezTo>
                    <a:pt x="1157" y="11"/>
                    <a:pt x="1147" y="0"/>
                    <a:pt x="1134" y="0"/>
                  </a:cubicBezTo>
                  <a:cubicBezTo>
                    <a:pt x="1040" y="0"/>
                    <a:pt x="1040" y="0"/>
                    <a:pt x="1040" y="0"/>
                  </a:cubicBezTo>
                  <a:cubicBezTo>
                    <a:pt x="1027" y="0"/>
                    <a:pt x="1017" y="11"/>
                    <a:pt x="1017" y="23"/>
                  </a:cubicBezTo>
                  <a:cubicBezTo>
                    <a:pt x="1017" y="118"/>
                    <a:pt x="1017" y="118"/>
                    <a:pt x="1017" y="118"/>
                  </a:cubicBezTo>
                  <a:cubicBezTo>
                    <a:pt x="1017" y="130"/>
                    <a:pt x="1027" y="141"/>
                    <a:pt x="1040" y="141"/>
                  </a:cubicBezTo>
                  <a:close/>
                  <a:moveTo>
                    <a:pt x="840" y="141"/>
                  </a:moveTo>
                  <a:cubicBezTo>
                    <a:pt x="935" y="141"/>
                    <a:pt x="935" y="141"/>
                    <a:pt x="935" y="141"/>
                  </a:cubicBezTo>
                  <a:cubicBezTo>
                    <a:pt x="947" y="141"/>
                    <a:pt x="958" y="130"/>
                    <a:pt x="958" y="118"/>
                  </a:cubicBezTo>
                  <a:cubicBezTo>
                    <a:pt x="958" y="23"/>
                    <a:pt x="958" y="23"/>
                    <a:pt x="958" y="23"/>
                  </a:cubicBezTo>
                  <a:cubicBezTo>
                    <a:pt x="958" y="11"/>
                    <a:pt x="947" y="0"/>
                    <a:pt x="935" y="0"/>
                  </a:cubicBezTo>
                  <a:cubicBezTo>
                    <a:pt x="840" y="0"/>
                    <a:pt x="840" y="0"/>
                    <a:pt x="840" y="0"/>
                  </a:cubicBezTo>
                  <a:cubicBezTo>
                    <a:pt x="827" y="0"/>
                    <a:pt x="817" y="11"/>
                    <a:pt x="817" y="23"/>
                  </a:cubicBezTo>
                  <a:cubicBezTo>
                    <a:pt x="817" y="118"/>
                    <a:pt x="817" y="118"/>
                    <a:pt x="817" y="118"/>
                  </a:cubicBezTo>
                  <a:cubicBezTo>
                    <a:pt x="817" y="130"/>
                    <a:pt x="827" y="141"/>
                    <a:pt x="840" y="141"/>
                  </a:cubicBezTo>
                  <a:close/>
                  <a:moveTo>
                    <a:pt x="638" y="141"/>
                  </a:moveTo>
                  <a:cubicBezTo>
                    <a:pt x="732" y="141"/>
                    <a:pt x="732" y="141"/>
                    <a:pt x="732" y="141"/>
                  </a:cubicBezTo>
                  <a:cubicBezTo>
                    <a:pt x="745" y="141"/>
                    <a:pt x="755" y="130"/>
                    <a:pt x="755" y="118"/>
                  </a:cubicBezTo>
                  <a:cubicBezTo>
                    <a:pt x="755" y="23"/>
                    <a:pt x="755" y="23"/>
                    <a:pt x="755" y="23"/>
                  </a:cubicBezTo>
                  <a:cubicBezTo>
                    <a:pt x="755" y="11"/>
                    <a:pt x="745" y="0"/>
                    <a:pt x="732" y="0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625" y="0"/>
                    <a:pt x="615" y="11"/>
                    <a:pt x="615" y="23"/>
                  </a:cubicBezTo>
                  <a:cubicBezTo>
                    <a:pt x="615" y="118"/>
                    <a:pt x="615" y="118"/>
                    <a:pt x="615" y="118"/>
                  </a:cubicBezTo>
                  <a:cubicBezTo>
                    <a:pt x="615" y="130"/>
                    <a:pt x="625" y="141"/>
                    <a:pt x="638" y="141"/>
                  </a:cubicBezTo>
                  <a:close/>
                  <a:moveTo>
                    <a:pt x="439" y="141"/>
                  </a:moveTo>
                  <a:cubicBezTo>
                    <a:pt x="533" y="141"/>
                    <a:pt x="533" y="141"/>
                    <a:pt x="533" y="141"/>
                  </a:cubicBezTo>
                  <a:cubicBezTo>
                    <a:pt x="546" y="141"/>
                    <a:pt x="556" y="130"/>
                    <a:pt x="556" y="118"/>
                  </a:cubicBezTo>
                  <a:cubicBezTo>
                    <a:pt x="556" y="23"/>
                    <a:pt x="556" y="23"/>
                    <a:pt x="556" y="23"/>
                  </a:cubicBezTo>
                  <a:cubicBezTo>
                    <a:pt x="556" y="11"/>
                    <a:pt x="546" y="0"/>
                    <a:pt x="533" y="0"/>
                  </a:cubicBezTo>
                  <a:cubicBezTo>
                    <a:pt x="439" y="0"/>
                    <a:pt x="439" y="0"/>
                    <a:pt x="439" y="0"/>
                  </a:cubicBezTo>
                  <a:cubicBezTo>
                    <a:pt x="426" y="0"/>
                    <a:pt x="416" y="11"/>
                    <a:pt x="416" y="23"/>
                  </a:cubicBezTo>
                  <a:cubicBezTo>
                    <a:pt x="416" y="118"/>
                    <a:pt x="416" y="118"/>
                    <a:pt x="416" y="118"/>
                  </a:cubicBezTo>
                  <a:cubicBezTo>
                    <a:pt x="416" y="130"/>
                    <a:pt x="426" y="141"/>
                    <a:pt x="439" y="141"/>
                  </a:cubicBezTo>
                  <a:close/>
                  <a:moveTo>
                    <a:pt x="237" y="141"/>
                  </a:moveTo>
                  <a:cubicBezTo>
                    <a:pt x="332" y="141"/>
                    <a:pt x="332" y="141"/>
                    <a:pt x="332" y="141"/>
                  </a:cubicBezTo>
                  <a:cubicBezTo>
                    <a:pt x="345" y="141"/>
                    <a:pt x="355" y="130"/>
                    <a:pt x="355" y="118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11"/>
                    <a:pt x="345" y="0"/>
                    <a:pt x="332" y="0"/>
                  </a:cubicBezTo>
                  <a:cubicBezTo>
                    <a:pt x="237" y="0"/>
                    <a:pt x="237" y="0"/>
                    <a:pt x="237" y="0"/>
                  </a:cubicBezTo>
                  <a:cubicBezTo>
                    <a:pt x="225" y="0"/>
                    <a:pt x="214" y="11"/>
                    <a:pt x="214" y="23"/>
                  </a:cubicBezTo>
                  <a:cubicBezTo>
                    <a:pt x="214" y="118"/>
                    <a:pt x="214" y="118"/>
                    <a:pt x="214" y="118"/>
                  </a:cubicBezTo>
                  <a:cubicBezTo>
                    <a:pt x="214" y="130"/>
                    <a:pt x="225" y="141"/>
                    <a:pt x="237" y="141"/>
                  </a:cubicBezTo>
                  <a:close/>
                  <a:moveTo>
                    <a:pt x="41" y="141"/>
                  </a:moveTo>
                  <a:cubicBezTo>
                    <a:pt x="136" y="141"/>
                    <a:pt x="136" y="141"/>
                    <a:pt x="136" y="141"/>
                  </a:cubicBezTo>
                  <a:cubicBezTo>
                    <a:pt x="148" y="141"/>
                    <a:pt x="159" y="130"/>
                    <a:pt x="159" y="118"/>
                  </a:cubicBezTo>
                  <a:cubicBezTo>
                    <a:pt x="159" y="23"/>
                    <a:pt x="159" y="23"/>
                    <a:pt x="159" y="23"/>
                  </a:cubicBezTo>
                  <a:cubicBezTo>
                    <a:pt x="159" y="11"/>
                    <a:pt x="148" y="0"/>
                    <a:pt x="136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28" y="0"/>
                    <a:pt x="18" y="11"/>
                    <a:pt x="18" y="23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18" y="130"/>
                    <a:pt x="28" y="141"/>
                    <a:pt x="41" y="141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13">
              <a:extLst>
                <a:ext uri="{FF2B5EF4-FFF2-40B4-BE49-F238E27FC236}">
                  <a16:creationId xmlns:a16="http://schemas.microsoft.com/office/drawing/2014/main" id="{9B91F632-A5A9-FF42-9EBD-4CE8EAFC84E4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5359" y="6075209"/>
              <a:ext cx="313235" cy="300496"/>
            </a:xfrm>
            <a:custGeom>
              <a:avLst/>
              <a:gdLst>
                <a:gd name="T0" fmla="*/ 424 w 424"/>
                <a:gd name="T1" fmla="*/ 0 h 407"/>
                <a:gd name="T2" fmla="*/ 68 w 424"/>
                <a:gd name="T3" fmla="*/ 0 h 407"/>
                <a:gd name="T4" fmla="*/ 0 w 424"/>
                <a:gd name="T5" fmla="*/ 68 h 407"/>
                <a:gd name="T6" fmla="*/ 0 w 424"/>
                <a:gd name="T7" fmla="*/ 339 h 407"/>
                <a:gd name="T8" fmla="*/ 68 w 424"/>
                <a:gd name="T9" fmla="*/ 407 h 407"/>
                <a:gd name="T10" fmla="*/ 424 w 424"/>
                <a:gd name="T11" fmla="*/ 407 h 407"/>
                <a:gd name="T12" fmla="*/ 424 w 424"/>
                <a:gd name="T13" fmla="*/ 315 h 407"/>
                <a:gd name="T14" fmla="*/ 424 w 424"/>
                <a:gd name="T15" fmla="*/ 0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4" h="407">
                  <a:moveTo>
                    <a:pt x="424" y="0"/>
                  </a:moveTo>
                  <a:cubicBezTo>
                    <a:pt x="68" y="0"/>
                    <a:pt x="68" y="0"/>
                    <a:pt x="68" y="0"/>
                  </a:cubicBezTo>
                  <a:cubicBezTo>
                    <a:pt x="30" y="0"/>
                    <a:pt x="0" y="30"/>
                    <a:pt x="0" y="68"/>
                  </a:cubicBezTo>
                  <a:cubicBezTo>
                    <a:pt x="0" y="339"/>
                    <a:pt x="0" y="339"/>
                    <a:pt x="0" y="339"/>
                  </a:cubicBezTo>
                  <a:cubicBezTo>
                    <a:pt x="0" y="377"/>
                    <a:pt x="30" y="407"/>
                    <a:pt x="68" y="407"/>
                  </a:cubicBezTo>
                  <a:cubicBezTo>
                    <a:pt x="424" y="407"/>
                    <a:pt x="424" y="407"/>
                    <a:pt x="424" y="407"/>
                  </a:cubicBezTo>
                  <a:cubicBezTo>
                    <a:pt x="424" y="315"/>
                    <a:pt x="424" y="315"/>
                    <a:pt x="424" y="315"/>
                  </a:cubicBezTo>
                  <a:lnTo>
                    <a:pt x="424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14">
              <a:extLst>
                <a:ext uri="{FF2B5EF4-FFF2-40B4-BE49-F238E27FC236}">
                  <a16:creationId xmlns:a16="http://schemas.microsoft.com/office/drawing/2014/main" id="{6BE67FFD-A1D5-4D49-97C3-D1E2C32CC18D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8594" y="6075209"/>
              <a:ext cx="313984" cy="300496"/>
            </a:xfrm>
            <a:custGeom>
              <a:avLst/>
              <a:gdLst>
                <a:gd name="T0" fmla="*/ 357 w 425"/>
                <a:gd name="T1" fmla="*/ 0 h 407"/>
                <a:gd name="T2" fmla="*/ 0 w 425"/>
                <a:gd name="T3" fmla="*/ 0 h 407"/>
                <a:gd name="T4" fmla="*/ 0 w 425"/>
                <a:gd name="T5" fmla="*/ 315 h 407"/>
                <a:gd name="T6" fmla="*/ 0 w 425"/>
                <a:gd name="T7" fmla="*/ 407 h 407"/>
                <a:gd name="T8" fmla="*/ 357 w 425"/>
                <a:gd name="T9" fmla="*/ 407 h 407"/>
                <a:gd name="T10" fmla="*/ 425 w 425"/>
                <a:gd name="T11" fmla="*/ 339 h 407"/>
                <a:gd name="T12" fmla="*/ 425 w 425"/>
                <a:gd name="T13" fmla="*/ 68 h 407"/>
                <a:gd name="T14" fmla="*/ 357 w 425"/>
                <a:gd name="T15" fmla="*/ 0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5" h="407">
                  <a:moveTo>
                    <a:pt x="35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15"/>
                    <a:pt x="0" y="315"/>
                    <a:pt x="0" y="315"/>
                  </a:cubicBezTo>
                  <a:cubicBezTo>
                    <a:pt x="0" y="407"/>
                    <a:pt x="0" y="407"/>
                    <a:pt x="0" y="407"/>
                  </a:cubicBezTo>
                  <a:cubicBezTo>
                    <a:pt x="357" y="407"/>
                    <a:pt x="357" y="407"/>
                    <a:pt x="357" y="407"/>
                  </a:cubicBezTo>
                  <a:cubicBezTo>
                    <a:pt x="394" y="407"/>
                    <a:pt x="425" y="377"/>
                    <a:pt x="425" y="339"/>
                  </a:cubicBezTo>
                  <a:cubicBezTo>
                    <a:pt x="425" y="68"/>
                    <a:pt x="425" y="68"/>
                    <a:pt x="425" y="68"/>
                  </a:cubicBezTo>
                  <a:cubicBezTo>
                    <a:pt x="425" y="30"/>
                    <a:pt x="394" y="0"/>
                    <a:pt x="357" y="0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15">
              <a:extLst>
                <a:ext uri="{FF2B5EF4-FFF2-40B4-BE49-F238E27FC236}">
                  <a16:creationId xmlns:a16="http://schemas.microsoft.com/office/drawing/2014/main" id="{590ACBAA-EA6F-3349-845B-42D2EF724879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5596" y="6184617"/>
              <a:ext cx="352951" cy="697659"/>
            </a:xfrm>
            <a:custGeom>
              <a:avLst/>
              <a:gdLst>
                <a:gd name="T0" fmla="*/ 412 w 478"/>
                <a:gd name="T1" fmla="*/ 0 h 945"/>
                <a:gd name="T2" fmla="*/ 0 w 478"/>
                <a:gd name="T3" fmla="*/ 0 h 945"/>
                <a:gd name="T4" fmla="*/ 0 w 478"/>
                <a:gd name="T5" fmla="*/ 945 h 945"/>
                <a:gd name="T6" fmla="*/ 412 w 478"/>
                <a:gd name="T7" fmla="*/ 945 h 945"/>
                <a:gd name="T8" fmla="*/ 478 w 478"/>
                <a:gd name="T9" fmla="*/ 899 h 945"/>
                <a:gd name="T10" fmla="*/ 478 w 478"/>
                <a:gd name="T11" fmla="*/ 45 h 945"/>
                <a:gd name="T12" fmla="*/ 412 w 478"/>
                <a:gd name="T13" fmla="*/ 0 h 9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8" h="945">
                  <a:moveTo>
                    <a:pt x="41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45"/>
                    <a:pt x="0" y="945"/>
                    <a:pt x="0" y="945"/>
                  </a:cubicBezTo>
                  <a:cubicBezTo>
                    <a:pt x="412" y="945"/>
                    <a:pt x="412" y="945"/>
                    <a:pt x="412" y="945"/>
                  </a:cubicBezTo>
                  <a:cubicBezTo>
                    <a:pt x="448" y="945"/>
                    <a:pt x="478" y="925"/>
                    <a:pt x="478" y="899"/>
                  </a:cubicBezTo>
                  <a:cubicBezTo>
                    <a:pt x="478" y="45"/>
                    <a:pt x="478" y="45"/>
                    <a:pt x="478" y="45"/>
                  </a:cubicBezTo>
                  <a:cubicBezTo>
                    <a:pt x="478" y="20"/>
                    <a:pt x="448" y="0"/>
                    <a:pt x="412" y="0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16">
              <a:extLst>
                <a:ext uri="{FF2B5EF4-FFF2-40B4-BE49-F238E27FC236}">
                  <a16:creationId xmlns:a16="http://schemas.microsoft.com/office/drawing/2014/main" id="{BB5DD356-4F6D-5842-8352-6C3454864A1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1896" y="6184617"/>
              <a:ext cx="353701" cy="697659"/>
            </a:xfrm>
            <a:custGeom>
              <a:avLst/>
              <a:gdLst>
                <a:gd name="T0" fmla="*/ 66 w 479"/>
                <a:gd name="T1" fmla="*/ 0 h 945"/>
                <a:gd name="T2" fmla="*/ 0 w 479"/>
                <a:gd name="T3" fmla="*/ 45 h 945"/>
                <a:gd name="T4" fmla="*/ 0 w 479"/>
                <a:gd name="T5" fmla="*/ 899 h 945"/>
                <a:gd name="T6" fmla="*/ 66 w 479"/>
                <a:gd name="T7" fmla="*/ 945 h 945"/>
                <a:gd name="T8" fmla="*/ 479 w 479"/>
                <a:gd name="T9" fmla="*/ 945 h 945"/>
                <a:gd name="T10" fmla="*/ 479 w 479"/>
                <a:gd name="T11" fmla="*/ 0 h 945"/>
                <a:gd name="T12" fmla="*/ 66 w 479"/>
                <a:gd name="T13" fmla="*/ 0 h 9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9" h="945">
                  <a:moveTo>
                    <a:pt x="66" y="0"/>
                  </a:moveTo>
                  <a:cubicBezTo>
                    <a:pt x="30" y="0"/>
                    <a:pt x="0" y="20"/>
                    <a:pt x="0" y="45"/>
                  </a:cubicBezTo>
                  <a:cubicBezTo>
                    <a:pt x="0" y="899"/>
                    <a:pt x="0" y="899"/>
                    <a:pt x="0" y="899"/>
                  </a:cubicBezTo>
                  <a:cubicBezTo>
                    <a:pt x="0" y="925"/>
                    <a:pt x="30" y="945"/>
                    <a:pt x="66" y="945"/>
                  </a:cubicBezTo>
                  <a:cubicBezTo>
                    <a:pt x="479" y="945"/>
                    <a:pt x="479" y="945"/>
                    <a:pt x="479" y="945"/>
                  </a:cubicBezTo>
                  <a:cubicBezTo>
                    <a:pt x="479" y="0"/>
                    <a:pt x="479" y="0"/>
                    <a:pt x="479" y="0"/>
                  </a:cubicBezTo>
                  <a:lnTo>
                    <a:pt x="66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Oval 17">
              <a:extLst>
                <a:ext uri="{FF2B5EF4-FFF2-40B4-BE49-F238E27FC236}">
                  <a16:creationId xmlns:a16="http://schemas.microsoft.com/office/drawing/2014/main" id="{F8232B1F-AD2D-E346-A0E4-5A6FA735CF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65160" y="6300019"/>
              <a:ext cx="97418" cy="9741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Oval 18">
              <a:extLst>
                <a:ext uri="{FF2B5EF4-FFF2-40B4-BE49-F238E27FC236}">
                  <a16:creationId xmlns:a16="http://schemas.microsoft.com/office/drawing/2014/main" id="{219F162B-6049-4D4D-9986-FC4E210C42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65160" y="6563796"/>
              <a:ext cx="97418" cy="9741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Oval 19">
              <a:extLst>
                <a:ext uri="{FF2B5EF4-FFF2-40B4-BE49-F238E27FC236}">
                  <a16:creationId xmlns:a16="http://schemas.microsoft.com/office/drawing/2014/main" id="{9CE4C469-9493-5340-A547-1C975C97BC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65160" y="6431907"/>
              <a:ext cx="97418" cy="9741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20">
              <a:extLst>
                <a:ext uri="{FF2B5EF4-FFF2-40B4-BE49-F238E27FC236}">
                  <a16:creationId xmlns:a16="http://schemas.microsoft.com/office/drawing/2014/main" id="{FC8DFEE3-2995-5641-BBF2-23EF99CE745B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8830" y="6070713"/>
              <a:ext cx="313235" cy="300496"/>
            </a:xfrm>
            <a:custGeom>
              <a:avLst/>
              <a:gdLst>
                <a:gd name="T0" fmla="*/ 0 w 424"/>
                <a:gd name="T1" fmla="*/ 0 h 407"/>
                <a:gd name="T2" fmla="*/ 356 w 424"/>
                <a:gd name="T3" fmla="*/ 0 h 407"/>
                <a:gd name="T4" fmla="*/ 424 w 424"/>
                <a:gd name="T5" fmla="*/ 68 h 407"/>
                <a:gd name="T6" fmla="*/ 424 w 424"/>
                <a:gd name="T7" fmla="*/ 339 h 407"/>
                <a:gd name="T8" fmla="*/ 356 w 424"/>
                <a:gd name="T9" fmla="*/ 407 h 407"/>
                <a:gd name="T10" fmla="*/ 0 w 424"/>
                <a:gd name="T11" fmla="*/ 407 h 407"/>
                <a:gd name="T12" fmla="*/ 0 w 424"/>
                <a:gd name="T13" fmla="*/ 315 h 407"/>
                <a:gd name="T14" fmla="*/ 0 w 424"/>
                <a:gd name="T15" fmla="*/ 0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4" h="407">
                  <a:moveTo>
                    <a:pt x="0" y="0"/>
                  </a:moveTo>
                  <a:cubicBezTo>
                    <a:pt x="356" y="0"/>
                    <a:pt x="356" y="0"/>
                    <a:pt x="356" y="0"/>
                  </a:cubicBezTo>
                  <a:cubicBezTo>
                    <a:pt x="393" y="0"/>
                    <a:pt x="424" y="31"/>
                    <a:pt x="424" y="68"/>
                  </a:cubicBezTo>
                  <a:cubicBezTo>
                    <a:pt x="424" y="339"/>
                    <a:pt x="424" y="339"/>
                    <a:pt x="424" y="339"/>
                  </a:cubicBezTo>
                  <a:cubicBezTo>
                    <a:pt x="424" y="377"/>
                    <a:pt x="393" y="407"/>
                    <a:pt x="356" y="407"/>
                  </a:cubicBezTo>
                  <a:cubicBezTo>
                    <a:pt x="0" y="407"/>
                    <a:pt x="0" y="407"/>
                    <a:pt x="0" y="407"/>
                  </a:cubicBezTo>
                  <a:cubicBezTo>
                    <a:pt x="0" y="315"/>
                    <a:pt x="0" y="315"/>
                    <a:pt x="0" y="315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21">
              <a:extLst>
                <a:ext uri="{FF2B5EF4-FFF2-40B4-BE49-F238E27FC236}">
                  <a16:creationId xmlns:a16="http://schemas.microsoft.com/office/drawing/2014/main" id="{ACBC67A1-6068-5944-9AA5-F2C4CEFA77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4845" y="6070713"/>
              <a:ext cx="313984" cy="300496"/>
            </a:xfrm>
            <a:custGeom>
              <a:avLst/>
              <a:gdLst>
                <a:gd name="T0" fmla="*/ 68 w 425"/>
                <a:gd name="T1" fmla="*/ 0 h 407"/>
                <a:gd name="T2" fmla="*/ 425 w 425"/>
                <a:gd name="T3" fmla="*/ 0 h 407"/>
                <a:gd name="T4" fmla="*/ 425 w 425"/>
                <a:gd name="T5" fmla="*/ 315 h 407"/>
                <a:gd name="T6" fmla="*/ 425 w 425"/>
                <a:gd name="T7" fmla="*/ 407 h 407"/>
                <a:gd name="T8" fmla="*/ 68 w 425"/>
                <a:gd name="T9" fmla="*/ 407 h 407"/>
                <a:gd name="T10" fmla="*/ 0 w 425"/>
                <a:gd name="T11" fmla="*/ 339 h 407"/>
                <a:gd name="T12" fmla="*/ 0 w 425"/>
                <a:gd name="T13" fmla="*/ 68 h 407"/>
                <a:gd name="T14" fmla="*/ 68 w 425"/>
                <a:gd name="T15" fmla="*/ 0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5" h="407">
                  <a:moveTo>
                    <a:pt x="68" y="0"/>
                  </a:moveTo>
                  <a:cubicBezTo>
                    <a:pt x="425" y="0"/>
                    <a:pt x="425" y="0"/>
                    <a:pt x="425" y="0"/>
                  </a:cubicBezTo>
                  <a:cubicBezTo>
                    <a:pt x="425" y="315"/>
                    <a:pt x="425" y="315"/>
                    <a:pt x="425" y="315"/>
                  </a:cubicBezTo>
                  <a:cubicBezTo>
                    <a:pt x="425" y="407"/>
                    <a:pt x="425" y="407"/>
                    <a:pt x="425" y="407"/>
                  </a:cubicBezTo>
                  <a:cubicBezTo>
                    <a:pt x="68" y="407"/>
                    <a:pt x="68" y="407"/>
                    <a:pt x="68" y="407"/>
                  </a:cubicBezTo>
                  <a:cubicBezTo>
                    <a:pt x="31" y="407"/>
                    <a:pt x="0" y="377"/>
                    <a:pt x="0" y="339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31"/>
                    <a:pt x="31" y="0"/>
                    <a:pt x="68" y="0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22">
              <a:extLst>
                <a:ext uri="{FF2B5EF4-FFF2-40B4-BE49-F238E27FC236}">
                  <a16:creationId xmlns:a16="http://schemas.microsoft.com/office/drawing/2014/main" id="{D5306570-BECE-484C-80CB-0F79AB0635E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8876" y="6180121"/>
              <a:ext cx="352951" cy="702155"/>
            </a:xfrm>
            <a:custGeom>
              <a:avLst/>
              <a:gdLst>
                <a:gd name="T0" fmla="*/ 66 w 478"/>
                <a:gd name="T1" fmla="*/ 0 h 951"/>
                <a:gd name="T2" fmla="*/ 478 w 478"/>
                <a:gd name="T3" fmla="*/ 0 h 951"/>
                <a:gd name="T4" fmla="*/ 478 w 478"/>
                <a:gd name="T5" fmla="*/ 951 h 951"/>
                <a:gd name="T6" fmla="*/ 66 w 478"/>
                <a:gd name="T7" fmla="*/ 951 h 951"/>
                <a:gd name="T8" fmla="*/ 0 w 478"/>
                <a:gd name="T9" fmla="*/ 905 h 951"/>
                <a:gd name="T10" fmla="*/ 0 w 478"/>
                <a:gd name="T11" fmla="*/ 46 h 951"/>
                <a:gd name="T12" fmla="*/ 66 w 478"/>
                <a:gd name="T13" fmla="*/ 0 h 9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8" h="951">
                  <a:moveTo>
                    <a:pt x="66" y="0"/>
                  </a:moveTo>
                  <a:cubicBezTo>
                    <a:pt x="478" y="0"/>
                    <a:pt x="478" y="0"/>
                    <a:pt x="478" y="0"/>
                  </a:cubicBezTo>
                  <a:cubicBezTo>
                    <a:pt x="478" y="951"/>
                    <a:pt x="478" y="951"/>
                    <a:pt x="478" y="951"/>
                  </a:cubicBezTo>
                  <a:cubicBezTo>
                    <a:pt x="66" y="951"/>
                    <a:pt x="66" y="951"/>
                    <a:pt x="66" y="951"/>
                  </a:cubicBezTo>
                  <a:cubicBezTo>
                    <a:pt x="29" y="951"/>
                    <a:pt x="0" y="931"/>
                    <a:pt x="0" y="905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20"/>
                    <a:pt x="29" y="0"/>
                    <a:pt x="66" y="0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23">
              <a:extLst>
                <a:ext uri="{FF2B5EF4-FFF2-40B4-BE49-F238E27FC236}">
                  <a16:creationId xmlns:a16="http://schemas.microsoft.com/office/drawing/2014/main" id="{108DDA04-3433-4545-BBE1-36C594A0B80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1827" y="6180121"/>
              <a:ext cx="352951" cy="702155"/>
            </a:xfrm>
            <a:custGeom>
              <a:avLst/>
              <a:gdLst>
                <a:gd name="T0" fmla="*/ 412 w 478"/>
                <a:gd name="T1" fmla="*/ 0 h 951"/>
                <a:gd name="T2" fmla="*/ 478 w 478"/>
                <a:gd name="T3" fmla="*/ 46 h 951"/>
                <a:gd name="T4" fmla="*/ 478 w 478"/>
                <a:gd name="T5" fmla="*/ 905 h 951"/>
                <a:gd name="T6" fmla="*/ 412 w 478"/>
                <a:gd name="T7" fmla="*/ 951 h 951"/>
                <a:gd name="T8" fmla="*/ 0 w 478"/>
                <a:gd name="T9" fmla="*/ 951 h 951"/>
                <a:gd name="T10" fmla="*/ 0 w 478"/>
                <a:gd name="T11" fmla="*/ 0 h 951"/>
                <a:gd name="T12" fmla="*/ 412 w 478"/>
                <a:gd name="T13" fmla="*/ 0 h 9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8" h="951">
                  <a:moveTo>
                    <a:pt x="412" y="0"/>
                  </a:moveTo>
                  <a:cubicBezTo>
                    <a:pt x="449" y="0"/>
                    <a:pt x="478" y="20"/>
                    <a:pt x="478" y="46"/>
                  </a:cubicBezTo>
                  <a:cubicBezTo>
                    <a:pt x="478" y="905"/>
                    <a:pt x="478" y="905"/>
                    <a:pt x="478" y="905"/>
                  </a:cubicBezTo>
                  <a:cubicBezTo>
                    <a:pt x="478" y="931"/>
                    <a:pt x="449" y="951"/>
                    <a:pt x="412" y="951"/>
                  </a:cubicBezTo>
                  <a:cubicBezTo>
                    <a:pt x="0" y="951"/>
                    <a:pt x="0" y="951"/>
                    <a:pt x="0" y="95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412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Oval 24">
              <a:extLst>
                <a:ext uri="{FF2B5EF4-FFF2-40B4-BE49-F238E27FC236}">
                  <a16:creationId xmlns:a16="http://schemas.microsoft.com/office/drawing/2014/main" id="{0D15DBED-E980-644E-8572-7A7E3CE9C7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74845" y="6295523"/>
              <a:ext cx="98167" cy="9741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Oval 25">
              <a:extLst>
                <a:ext uri="{FF2B5EF4-FFF2-40B4-BE49-F238E27FC236}">
                  <a16:creationId xmlns:a16="http://schemas.microsoft.com/office/drawing/2014/main" id="{B32F2E66-BB72-8049-827F-E34AE49A4C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74845" y="6559299"/>
              <a:ext cx="98167" cy="9741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Oval 26">
              <a:extLst>
                <a:ext uri="{FF2B5EF4-FFF2-40B4-BE49-F238E27FC236}">
                  <a16:creationId xmlns:a16="http://schemas.microsoft.com/office/drawing/2014/main" id="{34A8424B-D8C4-9F45-A92D-244D2DEF66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74845" y="6427411"/>
              <a:ext cx="98167" cy="9741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27">
              <a:extLst>
                <a:ext uri="{FF2B5EF4-FFF2-40B4-BE49-F238E27FC236}">
                  <a16:creationId xmlns:a16="http://schemas.microsoft.com/office/drawing/2014/main" id="{678B9549-BC9A-D049-912F-5DD9D8544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5878" y="4940670"/>
              <a:ext cx="956940" cy="1067846"/>
            </a:xfrm>
            <a:custGeom>
              <a:avLst/>
              <a:gdLst>
                <a:gd name="T0" fmla="*/ 1134 w 1295"/>
                <a:gd name="T1" fmla="*/ 739 h 1446"/>
                <a:gd name="T2" fmla="*/ 957 w 1295"/>
                <a:gd name="T3" fmla="*/ 900 h 1446"/>
                <a:gd name="T4" fmla="*/ 908 w 1295"/>
                <a:gd name="T5" fmla="*/ 920 h 1446"/>
                <a:gd name="T6" fmla="*/ 921 w 1295"/>
                <a:gd name="T7" fmla="*/ 779 h 1446"/>
                <a:gd name="T8" fmla="*/ 972 w 1295"/>
                <a:gd name="T9" fmla="*/ 224 h 1446"/>
                <a:gd name="T10" fmla="*/ 978 w 1295"/>
                <a:gd name="T11" fmla="*/ 159 h 1446"/>
                <a:gd name="T12" fmla="*/ 783 w 1295"/>
                <a:gd name="T13" fmla="*/ 117 h 1446"/>
                <a:gd name="T14" fmla="*/ 730 w 1295"/>
                <a:gd name="T15" fmla="*/ 640 h 1446"/>
                <a:gd name="T16" fmla="*/ 719 w 1295"/>
                <a:gd name="T17" fmla="*/ 757 h 1446"/>
                <a:gd name="T18" fmla="*/ 689 w 1295"/>
                <a:gd name="T19" fmla="*/ 749 h 1446"/>
                <a:gd name="T20" fmla="*/ 701 w 1295"/>
                <a:gd name="T21" fmla="*/ 146 h 1446"/>
                <a:gd name="T22" fmla="*/ 527 w 1295"/>
                <a:gd name="T23" fmla="*/ 85 h 1446"/>
                <a:gd name="T24" fmla="*/ 505 w 1295"/>
                <a:gd name="T25" fmla="*/ 137 h 1446"/>
                <a:gd name="T26" fmla="*/ 497 w 1295"/>
                <a:gd name="T27" fmla="*/ 615 h 1446"/>
                <a:gd name="T28" fmla="*/ 493 w 1295"/>
                <a:gd name="T29" fmla="*/ 734 h 1446"/>
                <a:gd name="T30" fmla="*/ 471 w 1295"/>
                <a:gd name="T31" fmla="*/ 734 h 1446"/>
                <a:gd name="T32" fmla="*/ 470 w 1295"/>
                <a:gd name="T33" fmla="*/ 631 h 1446"/>
                <a:gd name="T34" fmla="*/ 468 w 1295"/>
                <a:gd name="T35" fmla="*/ 204 h 1446"/>
                <a:gd name="T36" fmla="*/ 343 w 1295"/>
                <a:gd name="T37" fmla="*/ 123 h 1446"/>
                <a:gd name="T38" fmla="*/ 272 w 1295"/>
                <a:gd name="T39" fmla="*/ 210 h 1446"/>
                <a:gd name="T40" fmla="*/ 275 w 1295"/>
                <a:gd name="T41" fmla="*/ 750 h 1446"/>
                <a:gd name="T42" fmla="*/ 226 w 1295"/>
                <a:gd name="T43" fmla="*/ 756 h 1446"/>
                <a:gd name="T44" fmla="*/ 224 w 1295"/>
                <a:gd name="T45" fmla="*/ 678 h 1446"/>
                <a:gd name="T46" fmla="*/ 223 w 1295"/>
                <a:gd name="T47" fmla="*/ 643 h 1446"/>
                <a:gd name="T48" fmla="*/ 226 w 1295"/>
                <a:gd name="T49" fmla="*/ 641 h 1446"/>
                <a:gd name="T50" fmla="*/ 223 w 1295"/>
                <a:gd name="T51" fmla="*/ 620 h 1446"/>
                <a:gd name="T52" fmla="*/ 206 w 1295"/>
                <a:gd name="T53" fmla="*/ 397 h 1446"/>
                <a:gd name="T54" fmla="*/ 203 w 1295"/>
                <a:gd name="T55" fmla="*/ 357 h 1446"/>
                <a:gd name="T56" fmla="*/ 190 w 1295"/>
                <a:gd name="T57" fmla="*/ 304 h 1446"/>
                <a:gd name="T58" fmla="*/ 3 w 1295"/>
                <a:gd name="T59" fmla="*/ 348 h 1446"/>
                <a:gd name="T60" fmla="*/ 11 w 1295"/>
                <a:gd name="T61" fmla="*/ 516 h 1446"/>
                <a:gd name="T62" fmla="*/ 21 w 1295"/>
                <a:gd name="T63" fmla="*/ 645 h 1446"/>
                <a:gd name="T64" fmla="*/ 29 w 1295"/>
                <a:gd name="T65" fmla="*/ 817 h 1446"/>
                <a:gd name="T66" fmla="*/ 62 w 1295"/>
                <a:gd name="T67" fmla="*/ 1100 h 1446"/>
                <a:gd name="T68" fmla="*/ 62 w 1295"/>
                <a:gd name="T69" fmla="*/ 1100 h 1446"/>
                <a:gd name="T70" fmla="*/ 75 w 1295"/>
                <a:gd name="T71" fmla="*/ 1295 h 1446"/>
                <a:gd name="T72" fmla="*/ 226 w 1295"/>
                <a:gd name="T73" fmla="*/ 1446 h 1446"/>
                <a:gd name="T74" fmla="*/ 816 w 1295"/>
                <a:gd name="T75" fmla="*/ 1446 h 1446"/>
                <a:gd name="T76" fmla="*/ 860 w 1295"/>
                <a:gd name="T77" fmla="*/ 1420 h 1446"/>
                <a:gd name="T78" fmla="*/ 903 w 1295"/>
                <a:gd name="T79" fmla="*/ 1313 h 1446"/>
                <a:gd name="T80" fmla="*/ 993 w 1295"/>
                <a:gd name="T81" fmla="*/ 1188 h 1446"/>
                <a:gd name="T82" fmla="*/ 1263 w 1295"/>
                <a:gd name="T83" fmla="*/ 839 h 1446"/>
                <a:gd name="T84" fmla="*/ 1134 w 1295"/>
                <a:gd name="T85" fmla="*/ 739 h 1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95" h="1446">
                  <a:moveTo>
                    <a:pt x="1134" y="739"/>
                  </a:moveTo>
                  <a:cubicBezTo>
                    <a:pt x="1053" y="793"/>
                    <a:pt x="1027" y="846"/>
                    <a:pt x="957" y="900"/>
                  </a:cubicBezTo>
                  <a:cubicBezTo>
                    <a:pt x="934" y="918"/>
                    <a:pt x="918" y="923"/>
                    <a:pt x="908" y="920"/>
                  </a:cubicBezTo>
                  <a:cubicBezTo>
                    <a:pt x="912" y="879"/>
                    <a:pt x="916" y="831"/>
                    <a:pt x="921" y="779"/>
                  </a:cubicBezTo>
                  <a:cubicBezTo>
                    <a:pt x="938" y="587"/>
                    <a:pt x="961" y="347"/>
                    <a:pt x="972" y="224"/>
                  </a:cubicBezTo>
                  <a:cubicBezTo>
                    <a:pt x="975" y="195"/>
                    <a:pt x="977" y="172"/>
                    <a:pt x="978" y="159"/>
                  </a:cubicBezTo>
                  <a:cubicBezTo>
                    <a:pt x="993" y="0"/>
                    <a:pt x="798" y="9"/>
                    <a:pt x="783" y="117"/>
                  </a:cubicBezTo>
                  <a:cubicBezTo>
                    <a:pt x="776" y="168"/>
                    <a:pt x="753" y="405"/>
                    <a:pt x="730" y="640"/>
                  </a:cubicBezTo>
                  <a:cubicBezTo>
                    <a:pt x="727" y="679"/>
                    <a:pt x="723" y="718"/>
                    <a:pt x="719" y="757"/>
                  </a:cubicBezTo>
                  <a:cubicBezTo>
                    <a:pt x="710" y="754"/>
                    <a:pt x="700" y="751"/>
                    <a:pt x="689" y="749"/>
                  </a:cubicBezTo>
                  <a:cubicBezTo>
                    <a:pt x="692" y="689"/>
                    <a:pt x="696" y="221"/>
                    <a:pt x="701" y="146"/>
                  </a:cubicBezTo>
                  <a:cubicBezTo>
                    <a:pt x="709" y="45"/>
                    <a:pt x="579" y="27"/>
                    <a:pt x="527" y="85"/>
                  </a:cubicBezTo>
                  <a:cubicBezTo>
                    <a:pt x="515" y="99"/>
                    <a:pt x="507" y="116"/>
                    <a:pt x="505" y="137"/>
                  </a:cubicBezTo>
                  <a:cubicBezTo>
                    <a:pt x="503" y="162"/>
                    <a:pt x="500" y="443"/>
                    <a:pt x="497" y="615"/>
                  </a:cubicBezTo>
                  <a:cubicBezTo>
                    <a:pt x="496" y="670"/>
                    <a:pt x="494" y="714"/>
                    <a:pt x="493" y="734"/>
                  </a:cubicBezTo>
                  <a:cubicBezTo>
                    <a:pt x="486" y="734"/>
                    <a:pt x="478" y="734"/>
                    <a:pt x="471" y="734"/>
                  </a:cubicBezTo>
                  <a:cubicBezTo>
                    <a:pt x="470" y="720"/>
                    <a:pt x="470" y="681"/>
                    <a:pt x="470" y="631"/>
                  </a:cubicBezTo>
                  <a:cubicBezTo>
                    <a:pt x="469" y="489"/>
                    <a:pt x="468" y="256"/>
                    <a:pt x="468" y="204"/>
                  </a:cubicBezTo>
                  <a:cubicBezTo>
                    <a:pt x="468" y="131"/>
                    <a:pt x="399" y="106"/>
                    <a:pt x="343" y="123"/>
                  </a:cubicBezTo>
                  <a:cubicBezTo>
                    <a:pt x="304" y="134"/>
                    <a:pt x="272" y="164"/>
                    <a:pt x="272" y="210"/>
                  </a:cubicBezTo>
                  <a:cubicBezTo>
                    <a:pt x="272" y="244"/>
                    <a:pt x="274" y="664"/>
                    <a:pt x="275" y="750"/>
                  </a:cubicBezTo>
                  <a:cubicBezTo>
                    <a:pt x="259" y="752"/>
                    <a:pt x="242" y="754"/>
                    <a:pt x="226" y="756"/>
                  </a:cubicBezTo>
                  <a:cubicBezTo>
                    <a:pt x="224" y="678"/>
                    <a:pt x="224" y="678"/>
                    <a:pt x="224" y="678"/>
                  </a:cubicBezTo>
                  <a:cubicBezTo>
                    <a:pt x="223" y="643"/>
                    <a:pt x="223" y="643"/>
                    <a:pt x="223" y="643"/>
                  </a:cubicBezTo>
                  <a:cubicBezTo>
                    <a:pt x="224" y="643"/>
                    <a:pt x="225" y="642"/>
                    <a:pt x="226" y="641"/>
                  </a:cubicBezTo>
                  <a:cubicBezTo>
                    <a:pt x="225" y="635"/>
                    <a:pt x="224" y="628"/>
                    <a:pt x="223" y="620"/>
                  </a:cubicBezTo>
                  <a:cubicBezTo>
                    <a:pt x="214" y="522"/>
                    <a:pt x="212" y="496"/>
                    <a:pt x="206" y="397"/>
                  </a:cubicBezTo>
                  <a:cubicBezTo>
                    <a:pt x="205" y="383"/>
                    <a:pt x="204" y="370"/>
                    <a:pt x="203" y="357"/>
                  </a:cubicBezTo>
                  <a:cubicBezTo>
                    <a:pt x="201" y="336"/>
                    <a:pt x="197" y="318"/>
                    <a:pt x="190" y="304"/>
                  </a:cubicBezTo>
                  <a:cubicBezTo>
                    <a:pt x="144" y="210"/>
                    <a:pt x="0" y="253"/>
                    <a:pt x="3" y="348"/>
                  </a:cubicBezTo>
                  <a:cubicBezTo>
                    <a:pt x="4" y="388"/>
                    <a:pt x="7" y="448"/>
                    <a:pt x="11" y="516"/>
                  </a:cubicBezTo>
                  <a:cubicBezTo>
                    <a:pt x="15" y="583"/>
                    <a:pt x="16" y="573"/>
                    <a:pt x="21" y="645"/>
                  </a:cubicBezTo>
                  <a:cubicBezTo>
                    <a:pt x="21" y="646"/>
                    <a:pt x="22" y="716"/>
                    <a:pt x="29" y="817"/>
                  </a:cubicBezTo>
                  <a:cubicBezTo>
                    <a:pt x="35" y="899"/>
                    <a:pt x="45" y="1001"/>
                    <a:pt x="62" y="1100"/>
                  </a:cubicBezTo>
                  <a:cubicBezTo>
                    <a:pt x="62" y="1100"/>
                    <a:pt x="62" y="1100"/>
                    <a:pt x="62" y="1100"/>
                  </a:cubicBezTo>
                  <a:cubicBezTo>
                    <a:pt x="75" y="1295"/>
                    <a:pt x="75" y="1295"/>
                    <a:pt x="75" y="1295"/>
                  </a:cubicBezTo>
                  <a:cubicBezTo>
                    <a:pt x="75" y="1378"/>
                    <a:pt x="143" y="1446"/>
                    <a:pt x="226" y="1446"/>
                  </a:cubicBezTo>
                  <a:cubicBezTo>
                    <a:pt x="816" y="1446"/>
                    <a:pt x="816" y="1446"/>
                    <a:pt x="816" y="1446"/>
                  </a:cubicBezTo>
                  <a:cubicBezTo>
                    <a:pt x="834" y="1446"/>
                    <a:pt x="851" y="1436"/>
                    <a:pt x="860" y="1420"/>
                  </a:cubicBezTo>
                  <a:cubicBezTo>
                    <a:pt x="903" y="1313"/>
                    <a:pt x="903" y="1313"/>
                    <a:pt x="903" y="1313"/>
                  </a:cubicBezTo>
                  <a:cubicBezTo>
                    <a:pt x="932" y="1277"/>
                    <a:pt x="966" y="1232"/>
                    <a:pt x="993" y="1188"/>
                  </a:cubicBezTo>
                  <a:cubicBezTo>
                    <a:pt x="1072" y="1059"/>
                    <a:pt x="1194" y="925"/>
                    <a:pt x="1263" y="839"/>
                  </a:cubicBezTo>
                  <a:cubicBezTo>
                    <a:pt x="1295" y="801"/>
                    <a:pt x="1214" y="686"/>
                    <a:pt x="1134" y="739"/>
                  </a:cubicBezTo>
                  <a:close/>
                </a:path>
              </a:pathLst>
            </a:custGeom>
            <a:solidFill>
              <a:srgbClr val="F2C9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78">
              <a:extLst>
                <a:ext uri="{FF2B5EF4-FFF2-40B4-BE49-F238E27FC236}">
                  <a16:creationId xmlns:a16="http://schemas.microsoft.com/office/drawing/2014/main" id="{5F409970-260C-034A-ADF8-85E86CF22CB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3681" y="3937270"/>
              <a:ext cx="2475154" cy="285508"/>
            </a:xfrm>
            <a:custGeom>
              <a:avLst/>
              <a:gdLst>
                <a:gd name="T0" fmla="*/ 0 w 3303"/>
                <a:gd name="T1" fmla="*/ 378 h 381"/>
                <a:gd name="T2" fmla="*/ 2 w 3303"/>
                <a:gd name="T3" fmla="*/ 381 h 381"/>
                <a:gd name="T4" fmla="*/ 3068 w 3303"/>
                <a:gd name="T5" fmla="*/ 380 h 381"/>
                <a:gd name="T6" fmla="*/ 3303 w 3303"/>
                <a:gd name="T7" fmla="*/ 0 h 381"/>
                <a:gd name="T8" fmla="*/ 3281 w 3303"/>
                <a:gd name="T9" fmla="*/ 0 h 381"/>
                <a:gd name="T10" fmla="*/ 0 w 3303"/>
                <a:gd name="T11" fmla="*/ 378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03" h="381">
                  <a:moveTo>
                    <a:pt x="0" y="378"/>
                  </a:moveTo>
                  <a:lnTo>
                    <a:pt x="2" y="381"/>
                  </a:lnTo>
                  <a:lnTo>
                    <a:pt x="3068" y="380"/>
                  </a:lnTo>
                  <a:lnTo>
                    <a:pt x="3303" y="0"/>
                  </a:lnTo>
                  <a:lnTo>
                    <a:pt x="3281" y="0"/>
                  </a:lnTo>
                  <a:lnTo>
                    <a:pt x="0" y="378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79">
              <a:extLst>
                <a:ext uri="{FF2B5EF4-FFF2-40B4-BE49-F238E27FC236}">
                  <a16:creationId xmlns:a16="http://schemas.microsoft.com/office/drawing/2014/main" id="{3C66927F-DD34-644B-953E-8B51D6E148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2076" y="3937270"/>
              <a:ext cx="2630273" cy="283260"/>
            </a:xfrm>
            <a:custGeom>
              <a:avLst/>
              <a:gdLst>
                <a:gd name="T0" fmla="*/ 0 w 3510"/>
                <a:gd name="T1" fmla="*/ 0 h 378"/>
                <a:gd name="T2" fmla="*/ 229 w 3510"/>
                <a:gd name="T3" fmla="*/ 378 h 378"/>
                <a:gd name="T4" fmla="*/ 3510 w 3510"/>
                <a:gd name="T5" fmla="*/ 0 h 378"/>
                <a:gd name="T6" fmla="*/ 0 w 3510"/>
                <a:gd name="T7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10" h="378">
                  <a:moveTo>
                    <a:pt x="0" y="0"/>
                  </a:moveTo>
                  <a:lnTo>
                    <a:pt x="229" y="378"/>
                  </a:lnTo>
                  <a:lnTo>
                    <a:pt x="351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107">
              <a:extLst>
                <a:ext uri="{FF2B5EF4-FFF2-40B4-BE49-F238E27FC236}">
                  <a16:creationId xmlns:a16="http://schemas.microsoft.com/office/drawing/2014/main" id="{D8EC224A-15C3-CD4F-BDAA-ED7AD5A6567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8094" y="4963900"/>
              <a:ext cx="955441" cy="1067846"/>
            </a:xfrm>
            <a:custGeom>
              <a:avLst/>
              <a:gdLst>
                <a:gd name="T0" fmla="*/ 161 w 1294"/>
                <a:gd name="T1" fmla="*/ 739 h 1446"/>
                <a:gd name="T2" fmla="*/ 337 w 1294"/>
                <a:gd name="T3" fmla="*/ 900 h 1446"/>
                <a:gd name="T4" fmla="*/ 386 w 1294"/>
                <a:gd name="T5" fmla="*/ 920 h 1446"/>
                <a:gd name="T6" fmla="*/ 373 w 1294"/>
                <a:gd name="T7" fmla="*/ 779 h 1446"/>
                <a:gd name="T8" fmla="*/ 322 w 1294"/>
                <a:gd name="T9" fmla="*/ 224 h 1446"/>
                <a:gd name="T10" fmla="*/ 316 w 1294"/>
                <a:gd name="T11" fmla="*/ 159 h 1446"/>
                <a:gd name="T12" fmla="*/ 512 w 1294"/>
                <a:gd name="T13" fmla="*/ 117 h 1446"/>
                <a:gd name="T14" fmla="*/ 564 w 1294"/>
                <a:gd name="T15" fmla="*/ 640 h 1446"/>
                <a:gd name="T16" fmla="*/ 575 w 1294"/>
                <a:gd name="T17" fmla="*/ 757 h 1446"/>
                <a:gd name="T18" fmla="*/ 606 w 1294"/>
                <a:gd name="T19" fmla="*/ 749 h 1446"/>
                <a:gd name="T20" fmla="*/ 593 w 1294"/>
                <a:gd name="T21" fmla="*/ 146 h 1446"/>
                <a:gd name="T22" fmla="*/ 768 w 1294"/>
                <a:gd name="T23" fmla="*/ 86 h 1446"/>
                <a:gd name="T24" fmla="*/ 789 w 1294"/>
                <a:gd name="T25" fmla="*/ 137 h 1446"/>
                <a:gd name="T26" fmla="*/ 798 w 1294"/>
                <a:gd name="T27" fmla="*/ 615 h 1446"/>
                <a:gd name="T28" fmla="*/ 801 w 1294"/>
                <a:gd name="T29" fmla="*/ 734 h 1446"/>
                <a:gd name="T30" fmla="*/ 824 w 1294"/>
                <a:gd name="T31" fmla="*/ 735 h 1446"/>
                <a:gd name="T32" fmla="*/ 825 w 1294"/>
                <a:gd name="T33" fmla="*/ 631 h 1446"/>
                <a:gd name="T34" fmla="*/ 826 w 1294"/>
                <a:gd name="T35" fmla="*/ 204 h 1446"/>
                <a:gd name="T36" fmla="*/ 952 w 1294"/>
                <a:gd name="T37" fmla="*/ 123 h 1446"/>
                <a:gd name="T38" fmla="*/ 1022 w 1294"/>
                <a:gd name="T39" fmla="*/ 210 h 1446"/>
                <a:gd name="T40" fmla="*/ 1020 w 1294"/>
                <a:gd name="T41" fmla="*/ 750 h 1446"/>
                <a:gd name="T42" fmla="*/ 1069 w 1294"/>
                <a:gd name="T43" fmla="*/ 756 h 1446"/>
                <a:gd name="T44" fmla="*/ 1071 w 1294"/>
                <a:gd name="T45" fmla="*/ 678 h 1446"/>
                <a:gd name="T46" fmla="*/ 1072 w 1294"/>
                <a:gd name="T47" fmla="*/ 643 h 1446"/>
                <a:gd name="T48" fmla="*/ 1069 w 1294"/>
                <a:gd name="T49" fmla="*/ 641 h 1446"/>
                <a:gd name="T50" fmla="*/ 1071 w 1294"/>
                <a:gd name="T51" fmla="*/ 620 h 1446"/>
                <a:gd name="T52" fmla="*/ 1089 w 1294"/>
                <a:gd name="T53" fmla="*/ 397 h 1446"/>
                <a:gd name="T54" fmla="*/ 1091 w 1294"/>
                <a:gd name="T55" fmla="*/ 357 h 1446"/>
                <a:gd name="T56" fmla="*/ 1105 w 1294"/>
                <a:gd name="T57" fmla="*/ 304 h 1446"/>
                <a:gd name="T58" fmla="*/ 1291 w 1294"/>
                <a:gd name="T59" fmla="*/ 348 h 1446"/>
                <a:gd name="T60" fmla="*/ 1283 w 1294"/>
                <a:gd name="T61" fmla="*/ 516 h 1446"/>
                <a:gd name="T62" fmla="*/ 1274 w 1294"/>
                <a:gd name="T63" fmla="*/ 645 h 1446"/>
                <a:gd name="T64" fmla="*/ 1265 w 1294"/>
                <a:gd name="T65" fmla="*/ 817 h 1446"/>
                <a:gd name="T66" fmla="*/ 1232 w 1294"/>
                <a:gd name="T67" fmla="*/ 1100 h 1446"/>
                <a:gd name="T68" fmla="*/ 1233 w 1294"/>
                <a:gd name="T69" fmla="*/ 1101 h 1446"/>
                <a:gd name="T70" fmla="*/ 1219 w 1294"/>
                <a:gd name="T71" fmla="*/ 1295 h 1446"/>
                <a:gd name="T72" fmla="*/ 1068 w 1294"/>
                <a:gd name="T73" fmla="*/ 1446 h 1446"/>
                <a:gd name="T74" fmla="*/ 479 w 1294"/>
                <a:gd name="T75" fmla="*/ 1446 h 1446"/>
                <a:gd name="T76" fmla="*/ 435 w 1294"/>
                <a:gd name="T77" fmla="*/ 1420 h 1446"/>
                <a:gd name="T78" fmla="*/ 392 w 1294"/>
                <a:gd name="T79" fmla="*/ 1313 h 1446"/>
                <a:gd name="T80" fmla="*/ 302 w 1294"/>
                <a:gd name="T81" fmla="*/ 1188 h 1446"/>
                <a:gd name="T82" fmla="*/ 31 w 1294"/>
                <a:gd name="T83" fmla="*/ 839 h 1446"/>
                <a:gd name="T84" fmla="*/ 161 w 1294"/>
                <a:gd name="T85" fmla="*/ 739 h 1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94" h="1446">
                  <a:moveTo>
                    <a:pt x="161" y="739"/>
                  </a:moveTo>
                  <a:cubicBezTo>
                    <a:pt x="241" y="793"/>
                    <a:pt x="268" y="846"/>
                    <a:pt x="337" y="900"/>
                  </a:cubicBezTo>
                  <a:cubicBezTo>
                    <a:pt x="361" y="918"/>
                    <a:pt x="376" y="923"/>
                    <a:pt x="386" y="920"/>
                  </a:cubicBezTo>
                  <a:cubicBezTo>
                    <a:pt x="382" y="879"/>
                    <a:pt x="378" y="831"/>
                    <a:pt x="373" y="779"/>
                  </a:cubicBezTo>
                  <a:cubicBezTo>
                    <a:pt x="356" y="588"/>
                    <a:pt x="334" y="347"/>
                    <a:pt x="322" y="224"/>
                  </a:cubicBezTo>
                  <a:cubicBezTo>
                    <a:pt x="320" y="195"/>
                    <a:pt x="317" y="172"/>
                    <a:pt x="316" y="159"/>
                  </a:cubicBezTo>
                  <a:cubicBezTo>
                    <a:pt x="301" y="0"/>
                    <a:pt x="497" y="9"/>
                    <a:pt x="512" y="117"/>
                  </a:cubicBezTo>
                  <a:cubicBezTo>
                    <a:pt x="519" y="168"/>
                    <a:pt x="542" y="405"/>
                    <a:pt x="564" y="640"/>
                  </a:cubicBezTo>
                  <a:cubicBezTo>
                    <a:pt x="568" y="679"/>
                    <a:pt x="571" y="718"/>
                    <a:pt x="575" y="757"/>
                  </a:cubicBezTo>
                  <a:cubicBezTo>
                    <a:pt x="584" y="754"/>
                    <a:pt x="594" y="751"/>
                    <a:pt x="606" y="749"/>
                  </a:cubicBezTo>
                  <a:cubicBezTo>
                    <a:pt x="603" y="689"/>
                    <a:pt x="599" y="221"/>
                    <a:pt x="593" y="146"/>
                  </a:cubicBezTo>
                  <a:cubicBezTo>
                    <a:pt x="586" y="45"/>
                    <a:pt x="715" y="27"/>
                    <a:pt x="768" y="86"/>
                  </a:cubicBezTo>
                  <a:cubicBezTo>
                    <a:pt x="779" y="99"/>
                    <a:pt x="787" y="116"/>
                    <a:pt x="789" y="137"/>
                  </a:cubicBezTo>
                  <a:cubicBezTo>
                    <a:pt x="791" y="162"/>
                    <a:pt x="794" y="443"/>
                    <a:pt x="798" y="615"/>
                  </a:cubicBezTo>
                  <a:cubicBezTo>
                    <a:pt x="799" y="670"/>
                    <a:pt x="800" y="714"/>
                    <a:pt x="801" y="734"/>
                  </a:cubicBezTo>
                  <a:cubicBezTo>
                    <a:pt x="809" y="734"/>
                    <a:pt x="816" y="734"/>
                    <a:pt x="824" y="735"/>
                  </a:cubicBezTo>
                  <a:cubicBezTo>
                    <a:pt x="824" y="720"/>
                    <a:pt x="825" y="681"/>
                    <a:pt x="825" y="631"/>
                  </a:cubicBezTo>
                  <a:cubicBezTo>
                    <a:pt x="826" y="489"/>
                    <a:pt x="826" y="256"/>
                    <a:pt x="826" y="204"/>
                  </a:cubicBezTo>
                  <a:cubicBezTo>
                    <a:pt x="826" y="131"/>
                    <a:pt x="895" y="106"/>
                    <a:pt x="952" y="123"/>
                  </a:cubicBezTo>
                  <a:cubicBezTo>
                    <a:pt x="990" y="134"/>
                    <a:pt x="1022" y="164"/>
                    <a:pt x="1022" y="210"/>
                  </a:cubicBezTo>
                  <a:cubicBezTo>
                    <a:pt x="1022" y="244"/>
                    <a:pt x="1021" y="664"/>
                    <a:pt x="1020" y="750"/>
                  </a:cubicBezTo>
                  <a:cubicBezTo>
                    <a:pt x="1036" y="752"/>
                    <a:pt x="1052" y="754"/>
                    <a:pt x="1069" y="756"/>
                  </a:cubicBezTo>
                  <a:cubicBezTo>
                    <a:pt x="1071" y="678"/>
                    <a:pt x="1071" y="678"/>
                    <a:pt x="1071" y="678"/>
                  </a:cubicBezTo>
                  <a:cubicBezTo>
                    <a:pt x="1072" y="643"/>
                    <a:pt x="1072" y="643"/>
                    <a:pt x="1072" y="643"/>
                  </a:cubicBezTo>
                  <a:cubicBezTo>
                    <a:pt x="1071" y="643"/>
                    <a:pt x="1070" y="642"/>
                    <a:pt x="1069" y="641"/>
                  </a:cubicBezTo>
                  <a:cubicBezTo>
                    <a:pt x="1070" y="635"/>
                    <a:pt x="1071" y="628"/>
                    <a:pt x="1071" y="620"/>
                  </a:cubicBezTo>
                  <a:cubicBezTo>
                    <a:pt x="1080" y="523"/>
                    <a:pt x="1082" y="496"/>
                    <a:pt x="1089" y="397"/>
                  </a:cubicBezTo>
                  <a:cubicBezTo>
                    <a:pt x="1090" y="383"/>
                    <a:pt x="1090" y="370"/>
                    <a:pt x="1091" y="357"/>
                  </a:cubicBezTo>
                  <a:cubicBezTo>
                    <a:pt x="1093" y="336"/>
                    <a:pt x="1098" y="318"/>
                    <a:pt x="1105" y="304"/>
                  </a:cubicBezTo>
                  <a:cubicBezTo>
                    <a:pt x="1150" y="210"/>
                    <a:pt x="1294" y="253"/>
                    <a:pt x="1291" y="348"/>
                  </a:cubicBezTo>
                  <a:cubicBezTo>
                    <a:pt x="1290" y="388"/>
                    <a:pt x="1287" y="448"/>
                    <a:pt x="1283" y="516"/>
                  </a:cubicBezTo>
                  <a:cubicBezTo>
                    <a:pt x="1279" y="583"/>
                    <a:pt x="1279" y="573"/>
                    <a:pt x="1274" y="645"/>
                  </a:cubicBezTo>
                  <a:cubicBezTo>
                    <a:pt x="1274" y="646"/>
                    <a:pt x="1272" y="716"/>
                    <a:pt x="1265" y="817"/>
                  </a:cubicBezTo>
                  <a:cubicBezTo>
                    <a:pt x="1259" y="899"/>
                    <a:pt x="1249" y="1001"/>
                    <a:pt x="1232" y="1100"/>
                  </a:cubicBezTo>
                  <a:cubicBezTo>
                    <a:pt x="1232" y="1100"/>
                    <a:pt x="1233" y="1100"/>
                    <a:pt x="1233" y="1101"/>
                  </a:cubicBezTo>
                  <a:cubicBezTo>
                    <a:pt x="1219" y="1295"/>
                    <a:pt x="1219" y="1295"/>
                    <a:pt x="1219" y="1295"/>
                  </a:cubicBezTo>
                  <a:cubicBezTo>
                    <a:pt x="1219" y="1378"/>
                    <a:pt x="1151" y="1446"/>
                    <a:pt x="1068" y="1446"/>
                  </a:cubicBezTo>
                  <a:cubicBezTo>
                    <a:pt x="479" y="1446"/>
                    <a:pt x="479" y="1446"/>
                    <a:pt x="479" y="1446"/>
                  </a:cubicBezTo>
                  <a:cubicBezTo>
                    <a:pt x="461" y="1446"/>
                    <a:pt x="444" y="1436"/>
                    <a:pt x="435" y="1420"/>
                  </a:cubicBezTo>
                  <a:cubicBezTo>
                    <a:pt x="392" y="1313"/>
                    <a:pt x="392" y="1313"/>
                    <a:pt x="392" y="1313"/>
                  </a:cubicBezTo>
                  <a:cubicBezTo>
                    <a:pt x="362" y="1277"/>
                    <a:pt x="328" y="1232"/>
                    <a:pt x="302" y="1188"/>
                  </a:cubicBezTo>
                  <a:cubicBezTo>
                    <a:pt x="223" y="1059"/>
                    <a:pt x="100" y="925"/>
                    <a:pt x="31" y="839"/>
                  </a:cubicBezTo>
                  <a:cubicBezTo>
                    <a:pt x="0" y="801"/>
                    <a:pt x="81" y="686"/>
                    <a:pt x="161" y="739"/>
                  </a:cubicBezTo>
                  <a:close/>
                </a:path>
              </a:pathLst>
            </a:custGeom>
            <a:solidFill>
              <a:srgbClr val="F2C9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3" name="Group 90">
            <a:extLst>
              <a:ext uri="{FF2B5EF4-FFF2-40B4-BE49-F238E27FC236}">
                <a16:creationId xmlns:a16="http://schemas.microsoft.com/office/drawing/2014/main" id="{E60B5EDE-7DF9-CF45-837B-8A0D24489444}"/>
              </a:ext>
            </a:extLst>
          </p:cNvPr>
          <p:cNvGrpSpPr/>
          <p:nvPr/>
        </p:nvGrpSpPr>
        <p:grpSpPr>
          <a:xfrm>
            <a:off x="2814252" y="2281560"/>
            <a:ext cx="170106" cy="370187"/>
            <a:chOff x="7684551" y="4198049"/>
            <a:chExt cx="170106" cy="370187"/>
          </a:xfrm>
        </p:grpSpPr>
        <p:sp>
          <p:nvSpPr>
            <p:cNvPr id="104" name="Freeform 108">
              <a:extLst>
                <a:ext uri="{FF2B5EF4-FFF2-40B4-BE49-F238E27FC236}">
                  <a16:creationId xmlns:a16="http://schemas.microsoft.com/office/drawing/2014/main" id="{C0DA6596-46DA-0F4E-9A67-6C0B59132678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4293" y="4287223"/>
              <a:ext cx="153620" cy="268273"/>
            </a:xfrm>
            <a:custGeom>
              <a:avLst/>
              <a:gdLst>
                <a:gd name="T0" fmla="*/ 0 w 205"/>
                <a:gd name="T1" fmla="*/ 0 h 358"/>
                <a:gd name="T2" fmla="*/ 205 w 205"/>
                <a:gd name="T3" fmla="*/ 0 h 358"/>
                <a:gd name="T4" fmla="*/ 205 w 205"/>
                <a:gd name="T5" fmla="*/ 299 h 358"/>
                <a:gd name="T6" fmla="*/ 187 w 205"/>
                <a:gd name="T7" fmla="*/ 333 h 358"/>
                <a:gd name="T8" fmla="*/ 134 w 205"/>
                <a:gd name="T9" fmla="*/ 358 h 358"/>
                <a:gd name="T10" fmla="*/ 70 w 205"/>
                <a:gd name="T11" fmla="*/ 358 h 358"/>
                <a:gd name="T12" fmla="*/ 18 w 205"/>
                <a:gd name="T13" fmla="*/ 332 h 358"/>
                <a:gd name="T14" fmla="*/ 0 w 205"/>
                <a:gd name="T15" fmla="*/ 292 h 358"/>
                <a:gd name="T16" fmla="*/ 0 w 205"/>
                <a:gd name="T17" fmla="*/ 0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358">
                  <a:moveTo>
                    <a:pt x="0" y="0"/>
                  </a:moveTo>
                  <a:lnTo>
                    <a:pt x="205" y="0"/>
                  </a:lnTo>
                  <a:lnTo>
                    <a:pt x="205" y="299"/>
                  </a:lnTo>
                  <a:lnTo>
                    <a:pt x="187" y="333"/>
                  </a:lnTo>
                  <a:lnTo>
                    <a:pt x="134" y="358"/>
                  </a:lnTo>
                  <a:lnTo>
                    <a:pt x="70" y="358"/>
                  </a:lnTo>
                  <a:lnTo>
                    <a:pt x="18" y="332"/>
                  </a:lnTo>
                  <a:lnTo>
                    <a:pt x="0" y="29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109">
              <a:extLst>
                <a:ext uri="{FF2B5EF4-FFF2-40B4-BE49-F238E27FC236}">
                  <a16:creationId xmlns:a16="http://schemas.microsoft.com/office/drawing/2014/main" id="{A63693F0-91F9-F24C-828A-86A167670E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84551" y="4198049"/>
              <a:ext cx="170106" cy="370187"/>
            </a:xfrm>
            <a:custGeom>
              <a:avLst/>
              <a:gdLst>
                <a:gd name="T0" fmla="*/ 230 w 230"/>
                <a:gd name="T1" fmla="*/ 423 h 502"/>
                <a:gd name="T2" fmla="*/ 230 w 230"/>
                <a:gd name="T3" fmla="*/ 113 h 502"/>
                <a:gd name="T4" fmla="*/ 184 w 230"/>
                <a:gd name="T5" fmla="*/ 113 h 502"/>
                <a:gd name="T6" fmla="*/ 184 w 230"/>
                <a:gd name="T7" fmla="*/ 0 h 502"/>
                <a:gd name="T8" fmla="*/ 49 w 230"/>
                <a:gd name="T9" fmla="*/ 0 h 502"/>
                <a:gd name="T10" fmla="*/ 49 w 230"/>
                <a:gd name="T11" fmla="*/ 113 h 502"/>
                <a:gd name="T12" fmla="*/ 0 w 230"/>
                <a:gd name="T13" fmla="*/ 113 h 502"/>
                <a:gd name="T14" fmla="*/ 0 w 230"/>
                <a:gd name="T15" fmla="*/ 410 h 502"/>
                <a:gd name="T16" fmla="*/ 110 w 230"/>
                <a:gd name="T17" fmla="*/ 502 h 502"/>
                <a:gd name="T18" fmla="*/ 230 w 230"/>
                <a:gd name="T19" fmla="*/ 423 h 502"/>
                <a:gd name="T20" fmla="*/ 164 w 230"/>
                <a:gd name="T21" fmla="*/ 50 h 502"/>
                <a:gd name="T22" fmla="*/ 164 w 230"/>
                <a:gd name="T23" fmla="*/ 76 h 502"/>
                <a:gd name="T24" fmla="*/ 139 w 230"/>
                <a:gd name="T25" fmla="*/ 76 h 502"/>
                <a:gd name="T26" fmla="*/ 139 w 230"/>
                <a:gd name="T27" fmla="*/ 50 h 502"/>
                <a:gd name="T28" fmla="*/ 164 w 230"/>
                <a:gd name="T29" fmla="*/ 50 h 502"/>
                <a:gd name="T30" fmla="*/ 73 w 230"/>
                <a:gd name="T31" fmla="*/ 76 h 502"/>
                <a:gd name="T32" fmla="*/ 73 w 230"/>
                <a:gd name="T33" fmla="*/ 50 h 502"/>
                <a:gd name="T34" fmla="*/ 98 w 230"/>
                <a:gd name="T35" fmla="*/ 50 h 502"/>
                <a:gd name="T36" fmla="*/ 98 w 230"/>
                <a:gd name="T37" fmla="*/ 76 h 502"/>
                <a:gd name="T38" fmla="*/ 73 w 230"/>
                <a:gd name="T39" fmla="*/ 76 h 502"/>
                <a:gd name="T40" fmla="*/ 118 w 230"/>
                <a:gd name="T41" fmla="*/ 113 h 502"/>
                <a:gd name="T42" fmla="*/ 117 w 230"/>
                <a:gd name="T43" fmla="*/ 113 h 502"/>
                <a:gd name="T44" fmla="*/ 117 w 230"/>
                <a:gd name="T45" fmla="*/ 9 h 502"/>
                <a:gd name="T46" fmla="*/ 118 w 230"/>
                <a:gd name="T47" fmla="*/ 9 h 502"/>
                <a:gd name="T48" fmla="*/ 120 w 230"/>
                <a:gd name="T49" fmla="*/ 9 h 502"/>
                <a:gd name="T50" fmla="*/ 120 w 230"/>
                <a:gd name="T51" fmla="*/ 113 h 502"/>
                <a:gd name="T52" fmla="*/ 118 w 230"/>
                <a:gd name="T53" fmla="*/ 113 h 502"/>
                <a:gd name="T54" fmla="*/ 34 w 230"/>
                <a:gd name="T55" fmla="*/ 447 h 502"/>
                <a:gd name="T56" fmla="*/ 21 w 230"/>
                <a:gd name="T57" fmla="*/ 410 h 502"/>
                <a:gd name="T58" fmla="*/ 21 w 230"/>
                <a:gd name="T59" fmla="*/ 134 h 502"/>
                <a:gd name="T60" fmla="*/ 49 w 230"/>
                <a:gd name="T61" fmla="*/ 134 h 502"/>
                <a:gd name="T62" fmla="*/ 117 w 230"/>
                <a:gd name="T63" fmla="*/ 134 h 502"/>
                <a:gd name="T64" fmla="*/ 118 w 230"/>
                <a:gd name="T65" fmla="*/ 134 h 502"/>
                <a:gd name="T66" fmla="*/ 120 w 230"/>
                <a:gd name="T67" fmla="*/ 134 h 502"/>
                <a:gd name="T68" fmla="*/ 184 w 230"/>
                <a:gd name="T69" fmla="*/ 134 h 502"/>
                <a:gd name="T70" fmla="*/ 209 w 230"/>
                <a:gd name="T71" fmla="*/ 134 h 502"/>
                <a:gd name="T72" fmla="*/ 209 w 230"/>
                <a:gd name="T73" fmla="*/ 421 h 502"/>
                <a:gd name="T74" fmla="*/ 194 w 230"/>
                <a:gd name="T75" fmla="*/ 449 h 502"/>
                <a:gd name="T76" fmla="*/ 110 w 230"/>
                <a:gd name="T77" fmla="*/ 481 h 502"/>
                <a:gd name="T78" fmla="*/ 34 w 230"/>
                <a:gd name="T79" fmla="*/ 447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30" h="502">
                  <a:moveTo>
                    <a:pt x="230" y="423"/>
                  </a:moveTo>
                  <a:cubicBezTo>
                    <a:pt x="230" y="113"/>
                    <a:pt x="230" y="113"/>
                    <a:pt x="230" y="113"/>
                  </a:cubicBezTo>
                  <a:cubicBezTo>
                    <a:pt x="184" y="113"/>
                    <a:pt x="184" y="113"/>
                    <a:pt x="184" y="113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49" y="113"/>
                    <a:pt x="49" y="113"/>
                    <a:pt x="49" y="113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410"/>
                    <a:pt x="0" y="410"/>
                    <a:pt x="0" y="410"/>
                  </a:cubicBezTo>
                  <a:cubicBezTo>
                    <a:pt x="0" y="410"/>
                    <a:pt x="3" y="502"/>
                    <a:pt x="110" y="502"/>
                  </a:cubicBezTo>
                  <a:cubicBezTo>
                    <a:pt x="218" y="502"/>
                    <a:pt x="230" y="423"/>
                    <a:pt x="230" y="423"/>
                  </a:cubicBezTo>
                  <a:close/>
                  <a:moveTo>
                    <a:pt x="164" y="50"/>
                  </a:moveTo>
                  <a:cubicBezTo>
                    <a:pt x="164" y="76"/>
                    <a:pt x="164" y="76"/>
                    <a:pt x="164" y="76"/>
                  </a:cubicBezTo>
                  <a:cubicBezTo>
                    <a:pt x="139" y="76"/>
                    <a:pt x="139" y="76"/>
                    <a:pt x="139" y="76"/>
                  </a:cubicBezTo>
                  <a:cubicBezTo>
                    <a:pt x="139" y="50"/>
                    <a:pt x="139" y="50"/>
                    <a:pt x="139" y="50"/>
                  </a:cubicBezTo>
                  <a:lnTo>
                    <a:pt x="164" y="50"/>
                  </a:lnTo>
                  <a:close/>
                  <a:moveTo>
                    <a:pt x="73" y="76"/>
                  </a:moveTo>
                  <a:cubicBezTo>
                    <a:pt x="73" y="50"/>
                    <a:pt x="73" y="50"/>
                    <a:pt x="73" y="50"/>
                  </a:cubicBezTo>
                  <a:cubicBezTo>
                    <a:pt x="98" y="50"/>
                    <a:pt x="98" y="50"/>
                    <a:pt x="98" y="50"/>
                  </a:cubicBezTo>
                  <a:cubicBezTo>
                    <a:pt x="98" y="76"/>
                    <a:pt x="98" y="76"/>
                    <a:pt x="98" y="76"/>
                  </a:cubicBezTo>
                  <a:lnTo>
                    <a:pt x="73" y="76"/>
                  </a:lnTo>
                  <a:close/>
                  <a:moveTo>
                    <a:pt x="118" y="113"/>
                  </a:moveTo>
                  <a:cubicBezTo>
                    <a:pt x="117" y="113"/>
                    <a:pt x="117" y="113"/>
                    <a:pt x="117" y="113"/>
                  </a:cubicBezTo>
                  <a:cubicBezTo>
                    <a:pt x="117" y="9"/>
                    <a:pt x="117" y="9"/>
                    <a:pt x="117" y="9"/>
                  </a:cubicBezTo>
                  <a:cubicBezTo>
                    <a:pt x="118" y="9"/>
                    <a:pt x="118" y="9"/>
                    <a:pt x="118" y="9"/>
                  </a:cubicBezTo>
                  <a:cubicBezTo>
                    <a:pt x="120" y="9"/>
                    <a:pt x="120" y="9"/>
                    <a:pt x="120" y="9"/>
                  </a:cubicBezTo>
                  <a:cubicBezTo>
                    <a:pt x="120" y="113"/>
                    <a:pt x="120" y="113"/>
                    <a:pt x="120" y="113"/>
                  </a:cubicBezTo>
                  <a:lnTo>
                    <a:pt x="118" y="113"/>
                  </a:lnTo>
                  <a:close/>
                  <a:moveTo>
                    <a:pt x="34" y="447"/>
                  </a:moveTo>
                  <a:cubicBezTo>
                    <a:pt x="23" y="430"/>
                    <a:pt x="22" y="412"/>
                    <a:pt x="21" y="410"/>
                  </a:cubicBezTo>
                  <a:cubicBezTo>
                    <a:pt x="21" y="134"/>
                    <a:pt x="21" y="134"/>
                    <a:pt x="21" y="134"/>
                  </a:cubicBezTo>
                  <a:cubicBezTo>
                    <a:pt x="49" y="134"/>
                    <a:pt x="49" y="134"/>
                    <a:pt x="49" y="134"/>
                  </a:cubicBezTo>
                  <a:cubicBezTo>
                    <a:pt x="117" y="134"/>
                    <a:pt x="117" y="134"/>
                    <a:pt x="117" y="134"/>
                  </a:cubicBezTo>
                  <a:cubicBezTo>
                    <a:pt x="118" y="134"/>
                    <a:pt x="118" y="134"/>
                    <a:pt x="118" y="134"/>
                  </a:cubicBezTo>
                  <a:cubicBezTo>
                    <a:pt x="120" y="134"/>
                    <a:pt x="120" y="134"/>
                    <a:pt x="120" y="134"/>
                  </a:cubicBezTo>
                  <a:cubicBezTo>
                    <a:pt x="184" y="134"/>
                    <a:pt x="184" y="134"/>
                    <a:pt x="184" y="134"/>
                  </a:cubicBezTo>
                  <a:cubicBezTo>
                    <a:pt x="209" y="134"/>
                    <a:pt x="209" y="134"/>
                    <a:pt x="209" y="134"/>
                  </a:cubicBezTo>
                  <a:cubicBezTo>
                    <a:pt x="209" y="421"/>
                    <a:pt x="209" y="421"/>
                    <a:pt x="209" y="421"/>
                  </a:cubicBezTo>
                  <a:cubicBezTo>
                    <a:pt x="208" y="425"/>
                    <a:pt x="205" y="437"/>
                    <a:pt x="194" y="449"/>
                  </a:cubicBezTo>
                  <a:cubicBezTo>
                    <a:pt x="177" y="470"/>
                    <a:pt x="148" y="481"/>
                    <a:pt x="110" y="481"/>
                  </a:cubicBezTo>
                  <a:cubicBezTo>
                    <a:pt x="74" y="481"/>
                    <a:pt x="48" y="469"/>
                    <a:pt x="34" y="447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6" name="Group 93">
            <a:extLst>
              <a:ext uri="{FF2B5EF4-FFF2-40B4-BE49-F238E27FC236}">
                <a16:creationId xmlns:a16="http://schemas.microsoft.com/office/drawing/2014/main" id="{98EDB586-1FCD-D640-BA36-4E6C94FB7338}"/>
              </a:ext>
            </a:extLst>
          </p:cNvPr>
          <p:cNvGrpSpPr/>
          <p:nvPr/>
        </p:nvGrpSpPr>
        <p:grpSpPr>
          <a:xfrm rot="2265493">
            <a:off x="333909" y="4432469"/>
            <a:ext cx="641068" cy="772088"/>
            <a:chOff x="4759560" y="2299066"/>
            <a:chExt cx="587463" cy="707528"/>
          </a:xfrm>
        </p:grpSpPr>
        <p:sp>
          <p:nvSpPr>
            <p:cNvPr id="107" name="Freeform 6">
              <a:extLst>
                <a:ext uri="{FF2B5EF4-FFF2-40B4-BE49-F238E27FC236}">
                  <a16:creationId xmlns:a16="http://schemas.microsoft.com/office/drawing/2014/main" id="{0AA7B4D8-E4DF-CF42-AE44-C10B3BD96BD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9560" y="2300495"/>
              <a:ext cx="317316" cy="638919"/>
            </a:xfrm>
            <a:custGeom>
              <a:avLst/>
              <a:gdLst>
                <a:gd name="T0" fmla="*/ 1064 w 1330"/>
                <a:gd name="T1" fmla="*/ 89 h 2672"/>
                <a:gd name="T2" fmla="*/ 1295 w 1330"/>
                <a:gd name="T3" fmla="*/ 446 h 2672"/>
                <a:gd name="T4" fmla="*/ 877 w 1330"/>
                <a:gd name="T5" fmla="*/ 2406 h 2672"/>
                <a:gd name="T6" fmla="*/ 520 w 1330"/>
                <a:gd name="T7" fmla="*/ 2637 h 2672"/>
                <a:gd name="T8" fmla="*/ 266 w 1330"/>
                <a:gd name="T9" fmla="*/ 2583 h 2672"/>
                <a:gd name="T10" fmla="*/ 35 w 1330"/>
                <a:gd name="T11" fmla="*/ 2226 h 2672"/>
                <a:gd name="T12" fmla="*/ 453 w 1330"/>
                <a:gd name="T13" fmla="*/ 266 h 2672"/>
                <a:gd name="T14" fmla="*/ 811 w 1330"/>
                <a:gd name="T15" fmla="*/ 34 h 2672"/>
                <a:gd name="T16" fmla="*/ 1064 w 1330"/>
                <a:gd name="T17" fmla="*/ 89 h 2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30" h="2672">
                  <a:moveTo>
                    <a:pt x="1064" y="89"/>
                  </a:moveTo>
                  <a:cubicBezTo>
                    <a:pt x="1226" y="123"/>
                    <a:pt x="1330" y="283"/>
                    <a:pt x="1295" y="446"/>
                  </a:cubicBezTo>
                  <a:cubicBezTo>
                    <a:pt x="877" y="2406"/>
                    <a:pt x="877" y="2406"/>
                    <a:pt x="877" y="2406"/>
                  </a:cubicBezTo>
                  <a:cubicBezTo>
                    <a:pt x="842" y="2568"/>
                    <a:pt x="682" y="2672"/>
                    <a:pt x="520" y="2637"/>
                  </a:cubicBezTo>
                  <a:cubicBezTo>
                    <a:pt x="266" y="2583"/>
                    <a:pt x="266" y="2583"/>
                    <a:pt x="266" y="2583"/>
                  </a:cubicBezTo>
                  <a:cubicBezTo>
                    <a:pt x="104" y="2549"/>
                    <a:pt x="0" y="2388"/>
                    <a:pt x="35" y="2226"/>
                  </a:cubicBezTo>
                  <a:cubicBezTo>
                    <a:pt x="453" y="266"/>
                    <a:pt x="453" y="266"/>
                    <a:pt x="453" y="266"/>
                  </a:cubicBezTo>
                  <a:cubicBezTo>
                    <a:pt x="488" y="103"/>
                    <a:pt x="648" y="0"/>
                    <a:pt x="811" y="34"/>
                  </a:cubicBezTo>
                  <a:lnTo>
                    <a:pt x="1064" y="89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7">
              <a:extLst>
                <a:ext uri="{FF2B5EF4-FFF2-40B4-BE49-F238E27FC236}">
                  <a16:creationId xmlns:a16="http://schemas.microsoft.com/office/drawing/2014/main" id="{D63C3ACA-23E2-7F4E-AAE0-961202407E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60989" y="2299066"/>
              <a:ext cx="315886" cy="641778"/>
            </a:xfrm>
            <a:custGeom>
              <a:avLst/>
              <a:gdLst>
                <a:gd name="T0" fmla="*/ 839 w 1320"/>
                <a:gd name="T1" fmla="*/ 2520 h 2682"/>
                <a:gd name="T2" fmla="*/ 512 w 1320"/>
                <a:gd name="T3" fmla="*/ 2655 h 2682"/>
                <a:gd name="T4" fmla="*/ 259 w 1320"/>
                <a:gd name="T5" fmla="*/ 2601 h 2682"/>
                <a:gd name="T6" fmla="*/ 61 w 1320"/>
                <a:gd name="T7" fmla="*/ 2464 h 2682"/>
                <a:gd name="T8" fmla="*/ 17 w 1320"/>
                <a:gd name="T9" fmla="*/ 2228 h 2682"/>
                <a:gd name="T10" fmla="*/ 436 w 1320"/>
                <a:gd name="T11" fmla="*/ 269 h 2682"/>
                <a:gd name="T12" fmla="*/ 481 w 1320"/>
                <a:gd name="T13" fmla="*/ 161 h 2682"/>
                <a:gd name="T14" fmla="*/ 808 w 1320"/>
                <a:gd name="T15" fmla="*/ 27 h 2682"/>
                <a:gd name="T16" fmla="*/ 1061 w 1320"/>
                <a:gd name="T17" fmla="*/ 81 h 2682"/>
                <a:gd name="T18" fmla="*/ 1259 w 1320"/>
                <a:gd name="T19" fmla="*/ 217 h 2682"/>
                <a:gd name="T20" fmla="*/ 1303 w 1320"/>
                <a:gd name="T21" fmla="*/ 454 h 2682"/>
                <a:gd name="T22" fmla="*/ 884 w 1320"/>
                <a:gd name="T23" fmla="*/ 2413 h 2682"/>
                <a:gd name="T24" fmla="*/ 839 w 1320"/>
                <a:gd name="T25" fmla="*/ 2520 h 2682"/>
                <a:gd name="T26" fmla="*/ 502 w 1320"/>
                <a:gd name="T27" fmla="*/ 175 h 2682"/>
                <a:gd name="T28" fmla="*/ 460 w 1320"/>
                <a:gd name="T29" fmla="*/ 274 h 2682"/>
                <a:gd name="T30" fmla="*/ 42 w 1320"/>
                <a:gd name="T31" fmla="*/ 2233 h 2682"/>
                <a:gd name="T32" fmla="*/ 82 w 1320"/>
                <a:gd name="T33" fmla="*/ 2451 h 2682"/>
                <a:gd name="T34" fmla="*/ 264 w 1320"/>
                <a:gd name="T35" fmla="*/ 2576 h 2682"/>
                <a:gd name="T36" fmla="*/ 517 w 1320"/>
                <a:gd name="T37" fmla="*/ 2630 h 2682"/>
                <a:gd name="T38" fmla="*/ 819 w 1320"/>
                <a:gd name="T39" fmla="*/ 2507 h 2682"/>
                <a:gd name="T40" fmla="*/ 860 w 1320"/>
                <a:gd name="T41" fmla="*/ 2408 h 2682"/>
                <a:gd name="T42" fmla="*/ 1278 w 1320"/>
                <a:gd name="T43" fmla="*/ 448 h 2682"/>
                <a:gd name="T44" fmla="*/ 1238 w 1320"/>
                <a:gd name="T45" fmla="*/ 231 h 2682"/>
                <a:gd name="T46" fmla="*/ 1056 w 1320"/>
                <a:gd name="T47" fmla="*/ 106 h 2682"/>
                <a:gd name="T48" fmla="*/ 803 w 1320"/>
                <a:gd name="T49" fmla="*/ 52 h 2682"/>
                <a:gd name="T50" fmla="*/ 502 w 1320"/>
                <a:gd name="T51" fmla="*/ 175 h 26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320" h="2682">
                  <a:moveTo>
                    <a:pt x="839" y="2520"/>
                  </a:moveTo>
                  <a:cubicBezTo>
                    <a:pt x="768" y="2629"/>
                    <a:pt x="639" y="2682"/>
                    <a:pt x="512" y="2655"/>
                  </a:cubicBezTo>
                  <a:cubicBezTo>
                    <a:pt x="259" y="2601"/>
                    <a:pt x="259" y="2601"/>
                    <a:pt x="259" y="2601"/>
                  </a:cubicBezTo>
                  <a:cubicBezTo>
                    <a:pt x="177" y="2583"/>
                    <a:pt x="107" y="2535"/>
                    <a:pt x="61" y="2464"/>
                  </a:cubicBezTo>
                  <a:cubicBezTo>
                    <a:pt x="15" y="2394"/>
                    <a:pt x="0" y="2310"/>
                    <a:pt x="17" y="2228"/>
                  </a:cubicBezTo>
                  <a:cubicBezTo>
                    <a:pt x="436" y="269"/>
                    <a:pt x="436" y="269"/>
                    <a:pt x="436" y="269"/>
                  </a:cubicBezTo>
                  <a:cubicBezTo>
                    <a:pt x="444" y="230"/>
                    <a:pt x="459" y="194"/>
                    <a:pt x="481" y="161"/>
                  </a:cubicBezTo>
                  <a:cubicBezTo>
                    <a:pt x="552" y="53"/>
                    <a:pt x="681" y="0"/>
                    <a:pt x="808" y="27"/>
                  </a:cubicBezTo>
                  <a:cubicBezTo>
                    <a:pt x="1061" y="81"/>
                    <a:pt x="1061" y="81"/>
                    <a:pt x="1061" y="81"/>
                  </a:cubicBezTo>
                  <a:cubicBezTo>
                    <a:pt x="1143" y="99"/>
                    <a:pt x="1214" y="147"/>
                    <a:pt x="1259" y="217"/>
                  </a:cubicBezTo>
                  <a:cubicBezTo>
                    <a:pt x="1305" y="288"/>
                    <a:pt x="1320" y="372"/>
                    <a:pt x="1303" y="454"/>
                  </a:cubicBezTo>
                  <a:cubicBezTo>
                    <a:pt x="884" y="2413"/>
                    <a:pt x="884" y="2413"/>
                    <a:pt x="884" y="2413"/>
                  </a:cubicBezTo>
                  <a:cubicBezTo>
                    <a:pt x="876" y="2452"/>
                    <a:pt x="861" y="2488"/>
                    <a:pt x="839" y="2520"/>
                  </a:cubicBezTo>
                  <a:close/>
                  <a:moveTo>
                    <a:pt x="502" y="175"/>
                  </a:moveTo>
                  <a:cubicBezTo>
                    <a:pt x="482" y="205"/>
                    <a:pt x="468" y="238"/>
                    <a:pt x="460" y="274"/>
                  </a:cubicBezTo>
                  <a:cubicBezTo>
                    <a:pt x="42" y="2233"/>
                    <a:pt x="42" y="2233"/>
                    <a:pt x="42" y="2233"/>
                  </a:cubicBezTo>
                  <a:cubicBezTo>
                    <a:pt x="26" y="2309"/>
                    <a:pt x="40" y="2386"/>
                    <a:pt x="82" y="2451"/>
                  </a:cubicBezTo>
                  <a:cubicBezTo>
                    <a:pt x="124" y="2515"/>
                    <a:pt x="189" y="2560"/>
                    <a:pt x="264" y="2576"/>
                  </a:cubicBezTo>
                  <a:cubicBezTo>
                    <a:pt x="517" y="2630"/>
                    <a:pt x="517" y="2630"/>
                    <a:pt x="517" y="2630"/>
                  </a:cubicBezTo>
                  <a:cubicBezTo>
                    <a:pt x="634" y="2655"/>
                    <a:pt x="753" y="2607"/>
                    <a:pt x="819" y="2507"/>
                  </a:cubicBezTo>
                  <a:cubicBezTo>
                    <a:pt x="838" y="2477"/>
                    <a:pt x="852" y="2443"/>
                    <a:pt x="860" y="2408"/>
                  </a:cubicBezTo>
                  <a:cubicBezTo>
                    <a:pt x="1278" y="448"/>
                    <a:pt x="1278" y="448"/>
                    <a:pt x="1278" y="448"/>
                  </a:cubicBezTo>
                  <a:cubicBezTo>
                    <a:pt x="1294" y="373"/>
                    <a:pt x="1280" y="296"/>
                    <a:pt x="1238" y="231"/>
                  </a:cubicBezTo>
                  <a:cubicBezTo>
                    <a:pt x="1196" y="166"/>
                    <a:pt x="1131" y="122"/>
                    <a:pt x="1056" y="106"/>
                  </a:cubicBezTo>
                  <a:cubicBezTo>
                    <a:pt x="803" y="52"/>
                    <a:pt x="803" y="52"/>
                    <a:pt x="803" y="52"/>
                  </a:cubicBezTo>
                  <a:cubicBezTo>
                    <a:pt x="686" y="27"/>
                    <a:pt x="567" y="75"/>
                    <a:pt x="502" y="175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8">
              <a:extLst>
                <a:ext uri="{FF2B5EF4-FFF2-40B4-BE49-F238E27FC236}">
                  <a16:creationId xmlns:a16="http://schemas.microsoft.com/office/drawing/2014/main" id="{9DE499BB-54B5-9C45-BCA6-8A3218A37F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89576" y="2773610"/>
              <a:ext cx="167234" cy="115777"/>
            </a:xfrm>
            <a:custGeom>
              <a:avLst/>
              <a:gdLst>
                <a:gd name="T0" fmla="*/ 528 w 700"/>
                <a:gd name="T1" fmla="*/ 81 h 485"/>
                <a:gd name="T2" fmla="*/ 678 w 700"/>
                <a:gd name="T3" fmla="*/ 313 h 485"/>
                <a:gd name="T4" fmla="*/ 678 w 700"/>
                <a:gd name="T5" fmla="*/ 313 h 485"/>
                <a:gd name="T6" fmla="*/ 446 w 700"/>
                <a:gd name="T7" fmla="*/ 463 h 485"/>
                <a:gd name="T8" fmla="*/ 173 w 700"/>
                <a:gd name="T9" fmla="*/ 404 h 485"/>
                <a:gd name="T10" fmla="*/ 23 w 700"/>
                <a:gd name="T11" fmla="*/ 173 h 485"/>
                <a:gd name="T12" fmla="*/ 23 w 700"/>
                <a:gd name="T13" fmla="*/ 173 h 485"/>
                <a:gd name="T14" fmla="*/ 254 w 700"/>
                <a:gd name="T15" fmla="*/ 23 h 485"/>
                <a:gd name="T16" fmla="*/ 528 w 700"/>
                <a:gd name="T17" fmla="*/ 81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0" h="485">
                  <a:moveTo>
                    <a:pt x="528" y="81"/>
                  </a:moveTo>
                  <a:cubicBezTo>
                    <a:pt x="633" y="104"/>
                    <a:pt x="700" y="207"/>
                    <a:pt x="678" y="313"/>
                  </a:cubicBezTo>
                  <a:cubicBezTo>
                    <a:pt x="678" y="313"/>
                    <a:pt x="678" y="313"/>
                    <a:pt x="678" y="313"/>
                  </a:cubicBezTo>
                  <a:cubicBezTo>
                    <a:pt x="655" y="418"/>
                    <a:pt x="552" y="485"/>
                    <a:pt x="446" y="463"/>
                  </a:cubicBezTo>
                  <a:cubicBezTo>
                    <a:pt x="173" y="404"/>
                    <a:pt x="173" y="404"/>
                    <a:pt x="173" y="404"/>
                  </a:cubicBezTo>
                  <a:cubicBezTo>
                    <a:pt x="67" y="382"/>
                    <a:pt x="0" y="278"/>
                    <a:pt x="23" y="173"/>
                  </a:cubicBezTo>
                  <a:cubicBezTo>
                    <a:pt x="23" y="173"/>
                    <a:pt x="23" y="173"/>
                    <a:pt x="23" y="173"/>
                  </a:cubicBezTo>
                  <a:cubicBezTo>
                    <a:pt x="45" y="67"/>
                    <a:pt x="149" y="0"/>
                    <a:pt x="254" y="23"/>
                  </a:cubicBezTo>
                  <a:lnTo>
                    <a:pt x="528" y="8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9">
              <a:extLst>
                <a:ext uri="{FF2B5EF4-FFF2-40B4-BE49-F238E27FC236}">
                  <a16:creationId xmlns:a16="http://schemas.microsoft.com/office/drawing/2014/main" id="{E93D595C-14F3-084E-8F62-2D52B7FE5CB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1017" y="2669268"/>
              <a:ext cx="168663" cy="117207"/>
            </a:xfrm>
            <a:custGeom>
              <a:avLst/>
              <a:gdLst>
                <a:gd name="T0" fmla="*/ 528 w 700"/>
                <a:gd name="T1" fmla="*/ 81 h 485"/>
                <a:gd name="T2" fmla="*/ 678 w 700"/>
                <a:gd name="T3" fmla="*/ 313 h 485"/>
                <a:gd name="T4" fmla="*/ 678 w 700"/>
                <a:gd name="T5" fmla="*/ 313 h 485"/>
                <a:gd name="T6" fmla="*/ 446 w 700"/>
                <a:gd name="T7" fmla="*/ 463 h 485"/>
                <a:gd name="T8" fmla="*/ 172 w 700"/>
                <a:gd name="T9" fmla="*/ 404 h 485"/>
                <a:gd name="T10" fmla="*/ 22 w 700"/>
                <a:gd name="T11" fmla="*/ 173 h 485"/>
                <a:gd name="T12" fmla="*/ 22 w 700"/>
                <a:gd name="T13" fmla="*/ 173 h 485"/>
                <a:gd name="T14" fmla="*/ 254 w 700"/>
                <a:gd name="T15" fmla="*/ 23 h 485"/>
                <a:gd name="T16" fmla="*/ 528 w 700"/>
                <a:gd name="T17" fmla="*/ 81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0" h="485">
                  <a:moveTo>
                    <a:pt x="528" y="81"/>
                  </a:moveTo>
                  <a:cubicBezTo>
                    <a:pt x="633" y="104"/>
                    <a:pt x="700" y="207"/>
                    <a:pt x="678" y="313"/>
                  </a:cubicBezTo>
                  <a:cubicBezTo>
                    <a:pt x="678" y="313"/>
                    <a:pt x="678" y="313"/>
                    <a:pt x="678" y="313"/>
                  </a:cubicBezTo>
                  <a:cubicBezTo>
                    <a:pt x="655" y="418"/>
                    <a:pt x="551" y="485"/>
                    <a:pt x="446" y="463"/>
                  </a:cubicBezTo>
                  <a:cubicBezTo>
                    <a:pt x="172" y="404"/>
                    <a:pt x="172" y="404"/>
                    <a:pt x="172" y="404"/>
                  </a:cubicBezTo>
                  <a:cubicBezTo>
                    <a:pt x="67" y="382"/>
                    <a:pt x="0" y="278"/>
                    <a:pt x="22" y="173"/>
                  </a:cubicBezTo>
                  <a:cubicBezTo>
                    <a:pt x="22" y="173"/>
                    <a:pt x="22" y="173"/>
                    <a:pt x="22" y="173"/>
                  </a:cubicBezTo>
                  <a:cubicBezTo>
                    <a:pt x="45" y="67"/>
                    <a:pt x="149" y="0"/>
                    <a:pt x="254" y="23"/>
                  </a:cubicBezTo>
                  <a:lnTo>
                    <a:pt x="528" y="8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10">
              <a:extLst>
                <a:ext uri="{FF2B5EF4-FFF2-40B4-BE49-F238E27FC236}">
                  <a16:creationId xmlns:a16="http://schemas.microsoft.com/office/drawing/2014/main" id="{92460F02-9576-734B-9179-E15279B6C0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8196" y="2357669"/>
              <a:ext cx="167234" cy="117207"/>
            </a:xfrm>
            <a:custGeom>
              <a:avLst/>
              <a:gdLst>
                <a:gd name="T0" fmla="*/ 528 w 700"/>
                <a:gd name="T1" fmla="*/ 81 h 485"/>
                <a:gd name="T2" fmla="*/ 678 w 700"/>
                <a:gd name="T3" fmla="*/ 313 h 485"/>
                <a:gd name="T4" fmla="*/ 678 w 700"/>
                <a:gd name="T5" fmla="*/ 313 h 485"/>
                <a:gd name="T6" fmla="*/ 446 w 700"/>
                <a:gd name="T7" fmla="*/ 463 h 485"/>
                <a:gd name="T8" fmla="*/ 172 w 700"/>
                <a:gd name="T9" fmla="*/ 404 h 485"/>
                <a:gd name="T10" fmla="*/ 22 w 700"/>
                <a:gd name="T11" fmla="*/ 173 h 485"/>
                <a:gd name="T12" fmla="*/ 22 w 700"/>
                <a:gd name="T13" fmla="*/ 173 h 485"/>
                <a:gd name="T14" fmla="*/ 254 w 700"/>
                <a:gd name="T15" fmla="*/ 23 h 485"/>
                <a:gd name="T16" fmla="*/ 528 w 700"/>
                <a:gd name="T17" fmla="*/ 81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0" h="485">
                  <a:moveTo>
                    <a:pt x="528" y="81"/>
                  </a:moveTo>
                  <a:cubicBezTo>
                    <a:pt x="633" y="104"/>
                    <a:pt x="700" y="207"/>
                    <a:pt x="678" y="313"/>
                  </a:cubicBezTo>
                  <a:cubicBezTo>
                    <a:pt x="678" y="313"/>
                    <a:pt x="678" y="313"/>
                    <a:pt x="678" y="313"/>
                  </a:cubicBezTo>
                  <a:cubicBezTo>
                    <a:pt x="655" y="418"/>
                    <a:pt x="551" y="485"/>
                    <a:pt x="446" y="463"/>
                  </a:cubicBezTo>
                  <a:cubicBezTo>
                    <a:pt x="172" y="404"/>
                    <a:pt x="172" y="404"/>
                    <a:pt x="172" y="404"/>
                  </a:cubicBezTo>
                  <a:cubicBezTo>
                    <a:pt x="67" y="382"/>
                    <a:pt x="0" y="278"/>
                    <a:pt x="22" y="173"/>
                  </a:cubicBezTo>
                  <a:cubicBezTo>
                    <a:pt x="22" y="173"/>
                    <a:pt x="22" y="173"/>
                    <a:pt x="22" y="173"/>
                  </a:cubicBezTo>
                  <a:cubicBezTo>
                    <a:pt x="45" y="67"/>
                    <a:pt x="149" y="0"/>
                    <a:pt x="254" y="23"/>
                  </a:cubicBezTo>
                  <a:lnTo>
                    <a:pt x="528" y="8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11">
              <a:extLst>
                <a:ext uri="{FF2B5EF4-FFF2-40B4-BE49-F238E27FC236}">
                  <a16:creationId xmlns:a16="http://schemas.microsoft.com/office/drawing/2014/main" id="{678C27E2-7844-114E-B7BF-487C2B0F0EF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5326" y="2462012"/>
              <a:ext cx="168663" cy="115777"/>
            </a:xfrm>
            <a:custGeom>
              <a:avLst/>
              <a:gdLst>
                <a:gd name="T0" fmla="*/ 528 w 700"/>
                <a:gd name="T1" fmla="*/ 81 h 485"/>
                <a:gd name="T2" fmla="*/ 678 w 700"/>
                <a:gd name="T3" fmla="*/ 313 h 485"/>
                <a:gd name="T4" fmla="*/ 678 w 700"/>
                <a:gd name="T5" fmla="*/ 313 h 485"/>
                <a:gd name="T6" fmla="*/ 446 w 700"/>
                <a:gd name="T7" fmla="*/ 463 h 485"/>
                <a:gd name="T8" fmla="*/ 173 w 700"/>
                <a:gd name="T9" fmla="*/ 404 h 485"/>
                <a:gd name="T10" fmla="*/ 23 w 700"/>
                <a:gd name="T11" fmla="*/ 173 h 485"/>
                <a:gd name="T12" fmla="*/ 23 w 700"/>
                <a:gd name="T13" fmla="*/ 173 h 485"/>
                <a:gd name="T14" fmla="*/ 254 w 700"/>
                <a:gd name="T15" fmla="*/ 23 h 485"/>
                <a:gd name="T16" fmla="*/ 528 w 700"/>
                <a:gd name="T17" fmla="*/ 81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0" h="485">
                  <a:moveTo>
                    <a:pt x="528" y="81"/>
                  </a:moveTo>
                  <a:cubicBezTo>
                    <a:pt x="633" y="104"/>
                    <a:pt x="700" y="207"/>
                    <a:pt x="678" y="313"/>
                  </a:cubicBezTo>
                  <a:cubicBezTo>
                    <a:pt x="678" y="313"/>
                    <a:pt x="678" y="313"/>
                    <a:pt x="678" y="313"/>
                  </a:cubicBezTo>
                  <a:cubicBezTo>
                    <a:pt x="655" y="418"/>
                    <a:pt x="552" y="485"/>
                    <a:pt x="446" y="463"/>
                  </a:cubicBezTo>
                  <a:cubicBezTo>
                    <a:pt x="173" y="404"/>
                    <a:pt x="173" y="404"/>
                    <a:pt x="173" y="404"/>
                  </a:cubicBezTo>
                  <a:cubicBezTo>
                    <a:pt x="67" y="382"/>
                    <a:pt x="0" y="278"/>
                    <a:pt x="23" y="173"/>
                  </a:cubicBezTo>
                  <a:cubicBezTo>
                    <a:pt x="23" y="173"/>
                    <a:pt x="23" y="173"/>
                    <a:pt x="23" y="173"/>
                  </a:cubicBezTo>
                  <a:cubicBezTo>
                    <a:pt x="45" y="67"/>
                    <a:pt x="149" y="0"/>
                    <a:pt x="254" y="23"/>
                  </a:cubicBezTo>
                  <a:lnTo>
                    <a:pt x="528" y="8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12">
              <a:extLst>
                <a:ext uri="{FF2B5EF4-FFF2-40B4-BE49-F238E27FC236}">
                  <a16:creationId xmlns:a16="http://schemas.microsoft.com/office/drawing/2014/main" id="{85E236D4-AA11-834D-A2DA-E68E55DDCF4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3886" y="2566354"/>
              <a:ext cx="167234" cy="115777"/>
            </a:xfrm>
            <a:custGeom>
              <a:avLst/>
              <a:gdLst>
                <a:gd name="T0" fmla="*/ 527 w 700"/>
                <a:gd name="T1" fmla="*/ 81 h 485"/>
                <a:gd name="T2" fmla="*/ 677 w 700"/>
                <a:gd name="T3" fmla="*/ 313 h 485"/>
                <a:gd name="T4" fmla="*/ 677 w 700"/>
                <a:gd name="T5" fmla="*/ 313 h 485"/>
                <a:gd name="T6" fmla="*/ 446 w 700"/>
                <a:gd name="T7" fmla="*/ 463 h 485"/>
                <a:gd name="T8" fmla="*/ 172 w 700"/>
                <a:gd name="T9" fmla="*/ 404 h 485"/>
                <a:gd name="T10" fmla="*/ 22 w 700"/>
                <a:gd name="T11" fmla="*/ 173 h 485"/>
                <a:gd name="T12" fmla="*/ 22 w 700"/>
                <a:gd name="T13" fmla="*/ 173 h 485"/>
                <a:gd name="T14" fmla="*/ 254 w 700"/>
                <a:gd name="T15" fmla="*/ 23 h 485"/>
                <a:gd name="T16" fmla="*/ 527 w 700"/>
                <a:gd name="T17" fmla="*/ 81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0" h="485">
                  <a:moveTo>
                    <a:pt x="527" y="81"/>
                  </a:moveTo>
                  <a:cubicBezTo>
                    <a:pt x="633" y="104"/>
                    <a:pt x="700" y="207"/>
                    <a:pt x="677" y="313"/>
                  </a:cubicBezTo>
                  <a:cubicBezTo>
                    <a:pt x="677" y="313"/>
                    <a:pt x="677" y="313"/>
                    <a:pt x="677" y="313"/>
                  </a:cubicBezTo>
                  <a:cubicBezTo>
                    <a:pt x="655" y="418"/>
                    <a:pt x="551" y="485"/>
                    <a:pt x="446" y="463"/>
                  </a:cubicBezTo>
                  <a:cubicBezTo>
                    <a:pt x="172" y="404"/>
                    <a:pt x="172" y="404"/>
                    <a:pt x="172" y="404"/>
                  </a:cubicBezTo>
                  <a:cubicBezTo>
                    <a:pt x="67" y="382"/>
                    <a:pt x="0" y="278"/>
                    <a:pt x="22" y="173"/>
                  </a:cubicBezTo>
                  <a:cubicBezTo>
                    <a:pt x="22" y="173"/>
                    <a:pt x="22" y="173"/>
                    <a:pt x="22" y="173"/>
                  </a:cubicBezTo>
                  <a:cubicBezTo>
                    <a:pt x="45" y="67"/>
                    <a:pt x="148" y="0"/>
                    <a:pt x="254" y="23"/>
                  </a:cubicBezTo>
                  <a:lnTo>
                    <a:pt x="527" y="8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13">
              <a:extLst>
                <a:ext uri="{FF2B5EF4-FFF2-40B4-BE49-F238E27FC236}">
                  <a16:creationId xmlns:a16="http://schemas.microsoft.com/office/drawing/2014/main" id="{70AD23D7-9E5A-D54B-A61E-49FF793938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3848" y="2330512"/>
              <a:ext cx="444528" cy="617479"/>
            </a:xfrm>
            <a:custGeom>
              <a:avLst/>
              <a:gdLst>
                <a:gd name="T0" fmla="*/ 1658 w 1860"/>
                <a:gd name="T1" fmla="*/ 200 h 2577"/>
                <a:gd name="T2" fmla="*/ 1782 w 1860"/>
                <a:gd name="T3" fmla="*/ 608 h 2577"/>
                <a:gd name="T4" fmla="*/ 838 w 1860"/>
                <a:gd name="T5" fmla="*/ 2375 h 2577"/>
                <a:gd name="T6" fmla="*/ 430 w 1860"/>
                <a:gd name="T7" fmla="*/ 2499 h 2577"/>
                <a:gd name="T8" fmla="*/ 202 w 1860"/>
                <a:gd name="T9" fmla="*/ 2377 h 2577"/>
                <a:gd name="T10" fmla="*/ 78 w 1860"/>
                <a:gd name="T11" fmla="*/ 1969 h 2577"/>
                <a:gd name="T12" fmla="*/ 1022 w 1860"/>
                <a:gd name="T13" fmla="*/ 202 h 2577"/>
                <a:gd name="T14" fmla="*/ 1430 w 1860"/>
                <a:gd name="T15" fmla="*/ 78 h 2577"/>
                <a:gd name="T16" fmla="*/ 1658 w 1860"/>
                <a:gd name="T17" fmla="*/ 200 h 25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60" h="2577">
                  <a:moveTo>
                    <a:pt x="1658" y="200"/>
                  </a:moveTo>
                  <a:cubicBezTo>
                    <a:pt x="1805" y="278"/>
                    <a:pt x="1860" y="461"/>
                    <a:pt x="1782" y="608"/>
                  </a:cubicBezTo>
                  <a:cubicBezTo>
                    <a:pt x="838" y="2375"/>
                    <a:pt x="838" y="2375"/>
                    <a:pt x="838" y="2375"/>
                  </a:cubicBezTo>
                  <a:cubicBezTo>
                    <a:pt x="759" y="2522"/>
                    <a:pt x="577" y="2577"/>
                    <a:pt x="430" y="2499"/>
                  </a:cubicBezTo>
                  <a:cubicBezTo>
                    <a:pt x="202" y="2377"/>
                    <a:pt x="202" y="2377"/>
                    <a:pt x="202" y="2377"/>
                  </a:cubicBezTo>
                  <a:cubicBezTo>
                    <a:pt x="55" y="2298"/>
                    <a:pt x="0" y="2116"/>
                    <a:pt x="78" y="1969"/>
                  </a:cubicBezTo>
                  <a:cubicBezTo>
                    <a:pt x="1022" y="202"/>
                    <a:pt x="1022" y="202"/>
                    <a:pt x="1022" y="202"/>
                  </a:cubicBezTo>
                  <a:cubicBezTo>
                    <a:pt x="1101" y="55"/>
                    <a:pt x="1283" y="0"/>
                    <a:pt x="1430" y="78"/>
                  </a:cubicBezTo>
                  <a:lnTo>
                    <a:pt x="1658" y="20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14">
              <a:extLst>
                <a:ext uri="{FF2B5EF4-FFF2-40B4-BE49-F238E27FC236}">
                  <a16:creationId xmlns:a16="http://schemas.microsoft.com/office/drawing/2014/main" id="{3AFF77E2-0FC9-CA4F-A574-47D5B165EB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68136" y="2331941"/>
              <a:ext cx="435952" cy="614621"/>
            </a:xfrm>
            <a:custGeom>
              <a:avLst/>
              <a:gdLst>
                <a:gd name="T0" fmla="*/ 757 w 1822"/>
                <a:gd name="T1" fmla="*/ 2466 h 2565"/>
                <a:gd name="T2" fmla="*/ 405 w 1822"/>
                <a:gd name="T3" fmla="*/ 2504 h 2565"/>
                <a:gd name="T4" fmla="*/ 177 w 1822"/>
                <a:gd name="T5" fmla="*/ 2382 h 2565"/>
                <a:gd name="T6" fmla="*/ 25 w 1822"/>
                <a:gd name="T7" fmla="*/ 2196 h 2565"/>
                <a:gd name="T8" fmla="*/ 48 w 1822"/>
                <a:gd name="T9" fmla="*/ 1957 h 2565"/>
                <a:gd name="T10" fmla="*/ 992 w 1822"/>
                <a:gd name="T11" fmla="*/ 190 h 2565"/>
                <a:gd name="T12" fmla="*/ 1065 w 1822"/>
                <a:gd name="T13" fmla="*/ 99 h 2565"/>
                <a:gd name="T14" fmla="*/ 1417 w 1822"/>
                <a:gd name="T15" fmla="*/ 61 h 2565"/>
                <a:gd name="T16" fmla="*/ 1645 w 1822"/>
                <a:gd name="T17" fmla="*/ 183 h 2565"/>
                <a:gd name="T18" fmla="*/ 1798 w 1822"/>
                <a:gd name="T19" fmla="*/ 369 h 2565"/>
                <a:gd name="T20" fmla="*/ 1774 w 1822"/>
                <a:gd name="T21" fmla="*/ 608 h 2565"/>
                <a:gd name="T22" fmla="*/ 830 w 1822"/>
                <a:gd name="T23" fmla="*/ 2375 h 2565"/>
                <a:gd name="T24" fmla="*/ 757 w 1822"/>
                <a:gd name="T25" fmla="*/ 2466 h 2565"/>
                <a:gd name="T26" fmla="*/ 1081 w 1822"/>
                <a:gd name="T27" fmla="*/ 118 h 2565"/>
                <a:gd name="T28" fmla="*/ 1014 w 1822"/>
                <a:gd name="T29" fmla="*/ 202 h 2565"/>
                <a:gd name="T30" fmla="*/ 70 w 1822"/>
                <a:gd name="T31" fmla="*/ 1969 h 2565"/>
                <a:gd name="T32" fmla="*/ 49 w 1822"/>
                <a:gd name="T33" fmla="*/ 2189 h 2565"/>
                <a:gd name="T34" fmla="*/ 189 w 1822"/>
                <a:gd name="T35" fmla="*/ 2360 h 2565"/>
                <a:gd name="T36" fmla="*/ 417 w 1822"/>
                <a:gd name="T37" fmla="*/ 2482 h 2565"/>
                <a:gd name="T38" fmla="*/ 741 w 1822"/>
                <a:gd name="T39" fmla="*/ 2447 h 2565"/>
                <a:gd name="T40" fmla="*/ 808 w 1822"/>
                <a:gd name="T41" fmla="*/ 2363 h 2565"/>
                <a:gd name="T42" fmla="*/ 1752 w 1822"/>
                <a:gd name="T43" fmla="*/ 596 h 2565"/>
                <a:gd name="T44" fmla="*/ 1774 w 1822"/>
                <a:gd name="T45" fmla="*/ 376 h 2565"/>
                <a:gd name="T46" fmla="*/ 1633 w 1822"/>
                <a:gd name="T47" fmla="*/ 205 h 2565"/>
                <a:gd name="T48" fmla="*/ 1405 w 1822"/>
                <a:gd name="T49" fmla="*/ 83 h 2565"/>
                <a:gd name="T50" fmla="*/ 1081 w 1822"/>
                <a:gd name="T51" fmla="*/ 118 h 2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822" h="2565">
                  <a:moveTo>
                    <a:pt x="757" y="2466"/>
                  </a:moveTo>
                  <a:cubicBezTo>
                    <a:pt x="658" y="2550"/>
                    <a:pt x="520" y="2565"/>
                    <a:pt x="405" y="2504"/>
                  </a:cubicBezTo>
                  <a:cubicBezTo>
                    <a:pt x="177" y="2382"/>
                    <a:pt x="177" y="2382"/>
                    <a:pt x="177" y="2382"/>
                  </a:cubicBezTo>
                  <a:cubicBezTo>
                    <a:pt x="103" y="2342"/>
                    <a:pt x="49" y="2276"/>
                    <a:pt x="25" y="2196"/>
                  </a:cubicBezTo>
                  <a:cubicBezTo>
                    <a:pt x="0" y="2116"/>
                    <a:pt x="9" y="2031"/>
                    <a:pt x="48" y="1957"/>
                  </a:cubicBezTo>
                  <a:cubicBezTo>
                    <a:pt x="992" y="190"/>
                    <a:pt x="992" y="190"/>
                    <a:pt x="992" y="190"/>
                  </a:cubicBezTo>
                  <a:cubicBezTo>
                    <a:pt x="1011" y="155"/>
                    <a:pt x="1035" y="125"/>
                    <a:pt x="1065" y="99"/>
                  </a:cubicBezTo>
                  <a:cubicBezTo>
                    <a:pt x="1164" y="15"/>
                    <a:pt x="1302" y="0"/>
                    <a:pt x="1417" y="61"/>
                  </a:cubicBezTo>
                  <a:cubicBezTo>
                    <a:pt x="1645" y="183"/>
                    <a:pt x="1645" y="183"/>
                    <a:pt x="1645" y="183"/>
                  </a:cubicBezTo>
                  <a:cubicBezTo>
                    <a:pt x="1719" y="222"/>
                    <a:pt x="1773" y="288"/>
                    <a:pt x="1798" y="369"/>
                  </a:cubicBezTo>
                  <a:cubicBezTo>
                    <a:pt x="1822" y="449"/>
                    <a:pt x="1814" y="534"/>
                    <a:pt x="1774" y="608"/>
                  </a:cubicBezTo>
                  <a:cubicBezTo>
                    <a:pt x="830" y="2375"/>
                    <a:pt x="830" y="2375"/>
                    <a:pt x="830" y="2375"/>
                  </a:cubicBezTo>
                  <a:cubicBezTo>
                    <a:pt x="811" y="2410"/>
                    <a:pt x="787" y="2440"/>
                    <a:pt x="757" y="2466"/>
                  </a:cubicBezTo>
                  <a:close/>
                  <a:moveTo>
                    <a:pt x="1081" y="118"/>
                  </a:moveTo>
                  <a:cubicBezTo>
                    <a:pt x="1054" y="142"/>
                    <a:pt x="1031" y="170"/>
                    <a:pt x="1014" y="202"/>
                  </a:cubicBezTo>
                  <a:cubicBezTo>
                    <a:pt x="70" y="1969"/>
                    <a:pt x="70" y="1969"/>
                    <a:pt x="70" y="1969"/>
                  </a:cubicBezTo>
                  <a:cubicBezTo>
                    <a:pt x="34" y="2037"/>
                    <a:pt x="26" y="2115"/>
                    <a:pt x="49" y="2189"/>
                  </a:cubicBezTo>
                  <a:cubicBezTo>
                    <a:pt x="71" y="2263"/>
                    <a:pt x="121" y="2323"/>
                    <a:pt x="189" y="2360"/>
                  </a:cubicBezTo>
                  <a:cubicBezTo>
                    <a:pt x="417" y="2482"/>
                    <a:pt x="417" y="2482"/>
                    <a:pt x="417" y="2482"/>
                  </a:cubicBezTo>
                  <a:cubicBezTo>
                    <a:pt x="523" y="2538"/>
                    <a:pt x="650" y="2524"/>
                    <a:pt x="741" y="2447"/>
                  </a:cubicBezTo>
                  <a:cubicBezTo>
                    <a:pt x="768" y="2423"/>
                    <a:pt x="791" y="2395"/>
                    <a:pt x="808" y="2363"/>
                  </a:cubicBezTo>
                  <a:cubicBezTo>
                    <a:pt x="1752" y="596"/>
                    <a:pt x="1752" y="596"/>
                    <a:pt x="1752" y="596"/>
                  </a:cubicBezTo>
                  <a:cubicBezTo>
                    <a:pt x="1788" y="528"/>
                    <a:pt x="1796" y="450"/>
                    <a:pt x="1774" y="376"/>
                  </a:cubicBezTo>
                  <a:cubicBezTo>
                    <a:pt x="1751" y="302"/>
                    <a:pt x="1701" y="241"/>
                    <a:pt x="1633" y="205"/>
                  </a:cubicBezTo>
                  <a:cubicBezTo>
                    <a:pt x="1405" y="83"/>
                    <a:pt x="1405" y="83"/>
                    <a:pt x="1405" y="83"/>
                  </a:cubicBezTo>
                  <a:cubicBezTo>
                    <a:pt x="1299" y="27"/>
                    <a:pt x="1172" y="40"/>
                    <a:pt x="1081" y="118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15">
              <a:extLst>
                <a:ext uri="{FF2B5EF4-FFF2-40B4-BE49-F238E27FC236}">
                  <a16:creationId xmlns:a16="http://schemas.microsoft.com/office/drawing/2014/main" id="{57B98420-8284-E34D-894C-17747EDE4BC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1011" y="2760746"/>
              <a:ext cx="165805" cy="138647"/>
            </a:xfrm>
            <a:custGeom>
              <a:avLst/>
              <a:gdLst>
                <a:gd name="T0" fmla="*/ 562 w 693"/>
                <a:gd name="T1" fmla="*/ 182 h 577"/>
                <a:gd name="T2" fmla="*/ 642 w 693"/>
                <a:gd name="T3" fmla="*/ 446 h 577"/>
                <a:gd name="T4" fmla="*/ 642 w 693"/>
                <a:gd name="T5" fmla="*/ 446 h 577"/>
                <a:gd name="T6" fmla="*/ 378 w 693"/>
                <a:gd name="T7" fmla="*/ 526 h 577"/>
                <a:gd name="T8" fmla="*/ 131 w 693"/>
                <a:gd name="T9" fmla="*/ 395 h 577"/>
                <a:gd name="T10" fmla="*/ 51 w 693"/>
                <a:gd name="T11" fmla="*/ 131 h 577"/>
                <a:gd name="T12" fmla="*/ 51 w 693"/>
                <a:gd name="T13" fmla="*/ 131 h 577"/>
                <a:gd name="T14" fmla="*/ 315 w 693"/>
                <a:gd name="T15" fmla="*/ 50 h 577"/>
                <a:gd name="T16" fmla="*/ 562 w 693"/>
                <a:gd name="T17" fmla="*/ 182 h 5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3" h="577">
                  <a:moveTo>
                    <a:pt x="562" y="182"/>
                  </a:moveTo>
                  <a:cubicBezTo>
                    <a:pt x="657" y="233"/>
                    <a:pt x="693" y="351"/>
                    <a:pt x="642" y="446"/>
                  </a:cubicBezTo>
                  <a:cubicBezTo>
                    <a:pt x="642" y="446"/>
                    <a:pt x="642" y="446"/>
                    <a:pt x="642" y="446"/>
                  </a:cubicBezTo>
                  <a:cubicBezTo>
                    <a:pt x="591" y="541"/>
                    <a:pt x="473" y="577"/>
                    <a:pt x="378" y="526"/>
                  </a:cubicBezTo>
                  <a:cubicBezTo>
                    <a:pt x="131" y="395"/>
                    <a:pt x="131" y="395"/>
                    <a:pt x="131" y="395"/>
                  </a:cubicBezTo>
                  <a:cubicBezTo>
                    <a:pt x="36" y="344"/>
                    <a:pt x="0" y="226"/>
                    <a:pt x="51" y="131"/>
                  </a:cubicBezTo>
                  <a:cubicBezTo>
                    <a:pt x="51" y="131"/>
                    <a:pt x="51" y="131"/>
                    <a:pt x="51" y="131"/>
                  </a:cubicBezTo>
                  <a:cubicBezTo>
                    <a:pt x="102" y="36"/>
                    <a:pt x="220" y="0"/>
                    <a:pt x="315" y="50"/>
                  </a:cubicBezTo>
                  <a:lnTo>
                    <a:pt x="562" y="182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16">
              <a:extLst>
                <a:ext uri="{FF2B5EF4-FFF2-40B4-BE49-F238E27FC236}">
                  <a16:creationId xmlns:a16="http://schemas.microsoft.com/office/drawing/2014/main" id="{6B0F0551-55DA-F140-9C08-A57AF52EB973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1038" y="2667838"/>
              <a:ext cx="165805" cy="137218"/>
            </a:xfrm>
            <a:custGeom>
              <a:avLst/>
              <a:gdLst>
                <a:gd name="T0" fmla="*/ 562 w 693"/>
                <a:gd name="T1" fmla="*/ 183 h 578"/>
                <a:gd name="T2" fmla="*/ 642 w 693"/>
                <a:gd name="T3" fmla="*/ 447 h 578"/>
                <a:gd name="T4" fmla="*/ 642 w 693"/>
                <a:gd name="T5" fmla="*/ 447 h 578"/>
                <a:gd name="T6" fmla="*/ 378 w 693"/>
                <a:gd name="T7" fmla="*/ 527 h 578"/>
                <a:gd name="T8" fmla="*/ 131 w 693"/>
                <a:gd name="T9" fmla="*/ 395 h 578"/>
                <a:gd name="T10" fmla="*/ 51 w 693"/>
                <a:gd name="T11" fmla="*/ 131 h 578"/>
                <a:gd name="T12" fmla="*/ 51 w 693"/>
                <a:gd name="T13" fmla="*/ 131 h 578"/>
                <a:gd name="T14" fmla="*/ 315 w 693"/>
                <a:gd name="T15" fmla="*/ 51 h 578"/>
                <a:gd name="T16" fmla="*/ 562 w 693"/>
                <a:gd name="T17" fmla="*/ 183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3" h="578">
                  <a:moveTo>
                    <a:pt x="562" y="183"/>
                  </a:moveTo>
                  <a:cubicBezTo>
                    <a:pt x="657" y="234"/>
                    <a:pt x="693" y="352"/>
                    <a:pt x="642" y="447"/>
                  </a:cubicBezTo>
                  <a:cubicBezTo>
                    <a:pt x="642" y="447"/>
                    <a:pt x="642" y="447"/>
                    <a:pt x="642" y="447"/>
                  </a:cubicBezTo>
                  <a:cubicBezTo>
                    <a:pt x="591" y="542"/>
                    <a:pt x="473" y="578"/>
                    <a:pt x="378" y="527"/>
                  </a:cubicBezTo>
                  <a:cubicBezTo>
                    <a:pt x="131" y="395"/>
                    <a:pt x="131" y="395"/>
                    <a:pt x="131" y="395"/>
                  </a:cubicBezTo>
                  <a:cubicBezTo>
                    <a:pt x="36" y="344"/>
                    <a:pt x="0" y="226"/>
                    <a:pt x="51" y="131"/>
                  </a:cubicBezTo>
                  <a:cubicBezTo>
                    <a:pt x="51" y="131"/>
                    <a:pt x="51" y="131"/>
                    <a:pt x="51" y="131"/>
                  </a:cubicBezTo>
                  <a:cubicBezTo>
                    <a:pt x="102" y="36"/>
                    <a:pt x="220" y="0"/>
                    <a:pt x="315" y="51"/>
                  </a:cubicBezTo>
                  <a:lnTo>
                    <a:pt x="562" y="183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17">
              <a:extLst>
                <a:ext uri="{FF2B5EF4-FFF2-40B4-BE49-F238E27FC236}">
                  <a16:creationId xmlns:a16="http://schemas.microsoft.com/office/drawing/2014/main" id="{0002C7B9-5885-5F4A-B0C5-5554301916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1120" y="2386256"/>
              <a:ext cx="165805" cy="138647"/>
            </a:xfrm>
            <a:custGeom>
              <a:avLst/>
              <a:gdLst>
                <a:gd name="T0" fmla="*/ 562 w 693"/>
                <a:gd name="T1" fmla="*/ 183 h 578"/>
                <a:gd name="T2" fmla="*/ 642 w 693"/>
                <a:gd name="T3" fmla="*/ 447 h 578"/>
                <a:gd name="T4" fmla="*/ 642 w 693"/>
                <a:gd name="T5" fmla="*/ 447 h 578"/>
                <a:gd name="T6" fmla="*/ 378 w 693"/>
                <a:gd name="T7" fmla="*/ 527 h 578"/>
                <a:gd name="T8" fmla="*/ 131 w 693"/>
                <a:gd name="T9" fmla="*/ 395 h 578"/>
                <a:gd name="T10" fmla="*/ 51 w 693"/>
                <a:gd name="T11" fmla="*/ 131 h 578"/>
                <a:gd name="T12" fmla="*/ 51 w 693"/>
                <a:gd name="T13" fmla="*/ 131 h 578"/>
                <a:gd name="T14" fmla="*/ 315 w 693"/>
                <a:gd name="T15" fmla="*/ 51 h 578"/>
                <a:gd name="T16" fmla="*/ 562 w 693"/>
                <a:gd name="T17" fmla="*/ 183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3" h="578">
                  <a:moveTo>
                    <a:pt x="562" y="183"/>
                  </a:moveTo>
                  <a:cubicBezTo>
                    <a:pt x="657" y="233"/>
                    <a:pt x="693" y="352"/>
                    <a:pt x="642" y="447"/>
                  </a:cubicBezTo>
                  <a:cubicBezTo>
                    <a:pt x="642" y="447"/>
                    <a:pt x="642" y="447"/>
                    <a:pt x="642" y="447"/>
                  </a:cubicBezTo>
                  <a:cubicBezTo>
                    <a:pt x="591" y="542"/>
                    <a:pt x="473" y="578"/>
                    <a:pt x="378" y="527"/>
                  </a:cubicBezTo>
                  <a:cubicBezTo>
                    <a:pt x="131" y="395"/>
                    <a:pt x="131" y="395"/>
                    <a:pt x="131" y="395"/>
                  </a:cubicBezTo>
                  <a:cubicBezTo>
                    <a:pt x="36" y="344"/>
                    <a:pt x="0" y="226"/>
                    <a:pt x="51" y="131"/>
                  </a:cubicBezTo>
                  <a:cubicBezTo>
                    <a:pt x="51" y="131"/>
                    <a:pt x="51" y="131"/>
                    <a:pt x="51" y="131"/>
                  </a:cubicBezTo>
                  <a:cubicBezTo>
                    <a:pt x="102" y="36"/>
                    <a:pt x="220" y="0"/>
                    <a:pt x="315" y="51"/>
                  </a:cubicBezTo>
                  <a:lnTo>
                    <a:pt x="562" y="183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18">
              <a:extLst>
                <a:ext uri="{FF2B5EF4-FFF2-40B4-BE49-F238E27FC236}">
                  <a16:creationId xmlns:a16="http://schemas.microsoft.com/office/drawing/2014/main" id="{2049A583-5711-0F45-A0BC-94E0B46EA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1093" y="2479164"/>
              <a:ext cx="165805" cy="138647"/>
            </a:xfrm>
            <a:custGeom>
              <a:avLst/>
              <a:gdLst>
                <a:gd name="T0" fmla="*/ 562 w 693"/>
                <a:gd name="T1" fmla="*/ 183 h 578"/>
                <a:gd name="T2" fmla="*/ 642 w 693"/>
                <a:gd name="T3" fmla="*/ 447 h 578"/>
                <a:gd name="T4" fmla="*/ 642 w 693"/>
                <a:gd name="T5" fmla="*/ 447 h 578"/>
                <a:gd name="T6" fmla="*/ 378 w 693"/>
                <a:gd name="T7" fmla="*/ 527 h 578"/>
                <a:gd name="T8" fmla="*/ 131 w 693"/>
                <a:gd name="T9" fmla="*/ 395 h 578"/>
                <a:gd name="T10" fmla="*/ 51 w 693"/>
                <a:gd name="T11" fmla="*/ 131 h 578"/>
                <a:gd name="T12" fmla="*/ 51 w 693"/>
                <a:gd name="T13" fmla="*/ 131 h 578"/>
                <a:gd name="T14" fmla="*/ 315 w 693"/>
                <a:gd name="T15" fmla="*/ 51 h 578"/>
                <a:gd name="T16" fmla="*/ 562 w 693"/>
                <a:gd name="T17" fmla="*/ 183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3" h="578">
                  <a:moveTo>
                    <a:pt x="562" y="183"/>
                  </a:moveTo>
                  <a:cubicBezTo>
                    <a:pt x="657" y="234"/>
                    <a:pt x="693" y="352"/>
                    <a:pt x="642" y="447"/>
                  </a:cubicBezTo>
                  <a:cubicBezTo>
                    <a:pt x="642" y="447"/>
                    <a:pt x="642" y="447"/>
                    <a:pt x="642" y="447"/>
                  </a:cubicBezTo>
                  <a:cubicBezTo>
                    <a:pt x="591" y="542"/>
                    <a:pt x="473" y="578"/>
                    <a:pt x="378" y="527"/>
                  </a:cubicBezTo>
                  <a:cubicBezTo>
                    <a:pt x="131" y="395"/>
                    <a:pt x="131" y="395"/>
                    <a:pt x="131" y="395"/>
                  </a:cubicBezTo>
                  <a:cubicBezTo>
                    <a:pt x="36" y="345"/>
                    <a:pt x="0" y="226"/>
                    <a:pt x="51" y="131"/>
                  </a:cubicBezTo>
                  <a:cubicBezTo>
                    <a:pt x="51" y="131"/>
                    <a:pt x="51" y="131"/>
                    <a:pt x="51" y="131"/>
                  </a:cubicBezTo>
                  <a:cubicBezTo>
                    <a:pt x="102" y="36"/>
                    <a:pt x="220" y="0"/>
                    <a:pt x="315" y="51"/>
                  </a:cubicBezTo>
                  <a:lnTo>
                    <a:pt x="562" y="183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19">
              <a:extLst>
                <a:ext uri="{FF2B5EF4-FFF2-40B4-BE49-F238E27FC236}">
                  <a16:creationId xmlns:a16="http://schemas.microsoft.com/office/drawing/2014/main" id="{0DCD7AF6-7ACA-5242-803B-A6BC0A8ABD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1066" y="2573501"/>
              <a:ext cx="165805" cy="138647"/>
            </a:xfrm>
            <a:custGeom>
              <a:avLst/>
              <a:gdLst>
                <a:gd name="T0" fmla="*/ 562 w 693"/>
                <a:gd name="T1" fmla="*/ 182 h 577"/>
                <a:gd name="T2" fmla="*/ 642 w 693"/>
                <a:gd name="T3" fmla="*/ 446 h 577"/>
                <a:gd name="T4" fmla="*/ 642 w 693"/>
                <a:gd name="T5" fmla="*/ 446 h 577"/>
                <a:gd name="T6" fmla="*/ 378 w 693"/>
                <a:gd name="T7" fmla="*/ 527 h 577"/>
                <a:gd name="T8" fmla="*/ 131 w 693"/>
                <a:gd name="T9" fmla="*/ 395 h 577"/>
                <a:gd name="T10" fmla="*/ 51 w 693"/>
                <a:gd name="T11" fmla="*/ 131 h 577"/>
                <a:gd name="T12" fmla="*/ 51 w 693"/>
                <a:gd name="T13" fmla="*/ 131 h 577"/>
                <a:gd name="T14" fmla="*/ 315 w 693"/>
                <a:gd name="T15" fmla="*/ 51 h 577"/>
                <a:gd name="T16" fmla="*/ 562 w 693"/>
                <a:gd name="T17" fmla="*/ 182 h 5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3" h="577">
                  <a:moveTo>
                    <a:pt x="562" y="182"/>
                  </a:moveTo>
                  <a:cubicBezTo>
                    <a:pt x="657" y="233"/>
                    <a:pt x="693" y="351"/>
                    <a:pt x="642" y="446"/>
                  </a:cubicBezTo>
                  <a:cubicBezTo>
                    <a:pt x="642" y="446"/>
                    <a:pt x="642" y="446"/>
                    <a:pt x="642" y="446"/>
                  </a:cubicBezTo>
                  <a:cubicBezTo>
                    <a:pt x="591" y="541"/>
                    <a:pt x="473" y="577"/>
                    <a:pt x="378" y="527"/>
                  </a:cubicBezTo>
                  <a:cubicBezTo>
                    <a:pt x="131" y="395"/>
                    <a:pt x="131" y="395"/>
                    <a:pt x="131" y="395"/>
                  </a:cubicBezTo>
                  <a:cubicBezTo>
                    <a:pt x="36" y="344"/>
                    <a:pt x="0" y="226"/>
                    <a:pt x="51" y="131"/>
                  </a:cubicBezTo>
                  <a:cubicBezTo>
                    <a:pt x="51" y="131"/>
                    <a:pt x="51" y="131"/>
                    <a:pt x="51" y="131"/>
                  </a:cubicBezTo>
                  <a:cubicBezTo>
                    <a:pt x="102" y="36"/>
                    <a:pt x="220" y="0"/>
                    <a:pt x="315" y="51"/>
                  </a:cubicBezTo>
                  <a:lnTo>
                    <a:pt x="562" y="182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20">
              <a:extLst>
                <a:ext uri="{FF2B5EF4-FFF2-40B4-BE49-F238E27FC236}">
                  <a16:creationId xmlns:a16="http://schemas.microsoft.com/office/drawing/2014/main" id="{766BA7AA-3C91-5542-893C-51E4DB97BA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8142" y="2407697"/>
              <a:ext cx="511707" cy="574599"/>
            </a:xfrm>
            <a:custGeom>
              <a:avLst/>
              <a:gdLst>
                <a:gd name="T0" fmla="*/ 1987 w 2137"/>
                <a:gd name="T1" fmla="*/ 266 h 2401"/>
                <a:gd name="T2" fmla="*/ 2032 w 2137"/>
                <a:gd name="T3" fmla="*/ 690 h 2401"/>
                <a:gd name="T4" fmla="*/ 776 w 2137"/>
                <a:gd name="T5" fmla="*/ 2251 h 2401"/>
                <a:gd name="T6" fmla="*/ 352 w 2137"/>
                <a:gd name="T7" fmla="*/ 2296 h 2401"/>
                <a:gd name="T8" fmla="*/ 151 w 2137"/>
                <a:gd name="T9" fmla="*/ 2134 h 2401"/>
                <a:gd name="T10" fmla="*/ 105 w 2137"/>
                <a:gd name="T11" fmla="*/ 1710 h 2401"/>
                <a:gd name="T12" fmla="*/ 1361 w 2137"/>
                <a:gd name="T13" fmla="*/ 150 h 2401"/>
                <a:gd name="T14" fmla="*/ 1785 w 2137"/>
                <a:gd name="T15" fmla="*/ 104 h 2401"/>
                <a:gd name="T16" fmla="*/ 1987 w 2137"/>
                <a:gd name="T17" fmla="*/ 266 h 2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37" h="2401">
                  <a:moveTo>
                    <a:pt x="1987" y="266"/>
                  </a:moveTo>
                  <a:cubicBezTo>
                    <a:pt x="2116" y="371"/>
                    <a:pt x="2137" y="560"/>
                    <a:pt x="2032" y="690"/>
                  </a:cubicBezTo>
                  <a:cubicBezTo>
                    <a:pt x="776" y="2251"/>
                    <a:pt x="776" y="2251"/>
                    <a:pt x="776" y="2251"/>
                  </a:cubicBezTo>
                  <a:cubicBezTo>
                    <a:pt x="671" y="2380"/>
                    <a:pt x="482" y="2401"/>
                    <a:pt x="352" y="2296"/>
                  </a:cubicBezTo>
                  <a:cubicBezTo>
                    <a:pt x="151" y="2134"/>
                    <a:pt x="151" y="2134"/>
                    <a:pt x="151" y="2134"/>
                  </a:cubicBezTo>
                  <a:cubicBezTo>
                    <a:pt x="21" y="2030"/>
                    <a:pt x="0" y="1840"/>
                    <a:pt x="105" y="1710"/>
                  </a:cubicBezTo>
                  <a:cubicBezTo>
                    <a:pt x="1361" y="150"/>
                    <a:pt x="1361" y="150"/>
                    <a:pt x="1361" y="150"/>
                  </a:cubicBezTo>
                  <a:cubicBezTo>
                    <a:pt x="1466" y="20"/>
                    <a:pt x="1655" y="0"/>
                    <a:pt x="1785" y="104"/>
                  </a:cubicBezTo>
                  <a:lnTo>
                    <a:pt x="1987" y="266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21">
              <a:extLst>
                <a:ext uri="{FF2B5EF4-FFF2-40B4-BE49-F238E27FC236}">
                  <a16:creationId xmlns:a16="http://schemas.microsoft.com/office/drawing/2014/main" id="{C4D2BA6D-27B8-4149-AAC9-B7908A7334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82430" y="2407697"/>
              <a:ext cx="503131" cy="574599"/>
            </a:xfrm>
            <a:custGeom>
              <a:avLst/>
              <a:gdLst>
                <a:gd name="T0" fmla="*/ 726 w 2100"/>
                <a:gd name="T1" fmla="*/ 2300 h 2401"/>
                <a:gd name="T2" fmla="*/ 325 w 2100"/>
                <a:gd name="T3" fmla="*/ 2306 h 2401"/>
                <a:gd name="T4" fmla="*/ 124 w 2100"/>
                <a:gd name="T5" fmla="*/ 2144 h 2401"/>
                <a:gd name="T6" fmla="*/ 8 w 2100"/>
                <a:gd name="T7" fmla="*/ 1933 h 2401"/>
                <a:gd name="T8" fmla="*/ 76 w 2100"/>
                <a:gd name="T9" fmla="*/ 1703 h 2401"/>
                <a:gd name="T10" fmla="*/ 1333 w 2100"/>
                <a:gd name="T11" fmla="*/ 142 h 2401"/>
                <a:gd name="T12" fmla="*/ 1373 w 2100"/>
                <a:gd name="T13" fmla="*/ 100 h 2401"/>
                <a:gd name="T14" fmla="*/ 1774 w 2100"/>
                <a:gd name="T15" fmla="*/ 94 h 2401"/>
                <a:gd name="T16" fmla="*/ 1975 w 2100"/>
                <a:gd name="T17" fmla="*/ 256 h 2401"/>
                <a:gd name="T18" fmla="*/ 2091 w 2100"/>
                <a:gd name="T19" fmla="*/ 467 h 2401"/>
                <a:gd name="T20" fmla="*/ 2023 w 2100"/>
                <a:gd name="T21" fmla="*/ 698 h 2401"/>
                <a:gd name="T22" fmla="*/ 767 w 2100"/>
                <a:gd name="T23" fmla="*/ 2258 h 2401"/>
                <a:gd name="T24" fmla="*/ 726 w 2100"/>
                <a:gd name="T25" fmla="*/ 2300 h 2401"/>
                <a:gd name="T26" fmla="*/ 1390 w 2100"/>
                <a:gd name="T27" fmla="*/ 119 h 2401"/>
                <a:gd name="T28" fmla="*/ 1352 w 2100"/>
                <a:gd name="T29" fmla="*/ 158 h 2401"/>
                <a:gd name="T30" fmla="*/ 96 w 2100"/>
                <a:gd name="T31" fmla="*/ 1718 h 2401"/>
                <a:gd name="T32" fmla="*/ 33 w 2100"/>
                <a:gd name="T33" fmla="*/ 1930 h 2401"/>
                <a:gd name="T34" fmla="*/ 139 w 2100"/>
                <a:gd name="T35" fmla="*/ 2124 h 2401"/>
                <a:gd name="T36" fmla="*/ 341 w 2100"/>
                <a:gd name="T37" fmla="*/ 2287 h 2401"/>
                <a:gd name="T38" fmla="*/ 710 w 2100"/>
                <a:gd name="T39" fmla="*/ 2281 h 2401"/>
                <a:gd name="T40" fmla="*/ 747 w 2100"/>
                <a:gd name="T41" fmla="*/ 2243 h 2401"/>
                <a:gd name="T42" fmla="*/ 2004 w 2100"/>
                <a:gd name="T43" fmla="*/ 682 h 2401"/>
                <a:gd name="T44" fmla="*/ 2066 w 2100"/>
                <a:gd name="T45" fmla="*/ 470 h 2401"/>
                <a:gd name="T46" fmla="*/ 1960 w 2100"/>
                <a:gd name="T47" fmla="*/ 276 h 2401"/>
                <a:gd name="T48" fmla="*/ 1758 w 2100"/>
                <a:gd name="T49" fmla="*/ 114 h 2401"/>
                <a:gd name="T50" fmla="*/ 1390 w 2100"/>
                <a:gd name="T51" fmla="*/ 119 h 2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00" h="2401">
                  <a:moveTo>
                    <a:pt x="726" y="2300"/>
                  </a:moveTo>
                  <a:cubicBezTo>
                    <a:pt x="611" y="2398"/>
                    <a:pt x="443" y="2401"/>
                    <a:pt x="325" y="2306"/>
                  </a:cubicBezTo>
                  <a:cubicBezTo>
                    <a:pt x="124" y="2144"/>
                    <a:pt x="124" y="2144"/>
                    <a:pt x="124" y="2144"/>
                  </a:cubicBezTo>
                  <a:cubicBezTo>
                    <a:pt x="58" y="2091"/>
                    <a:pt x="17" y="2016"/>
                    <a:pt x="8" y="1933"/>
                  </a:cubicBezTo>
                  <a:cubicBezTo>
                    <a:pt x="0" y="1850"/>
                    <a:pt x="23" y="1768"/>
                    <a:pt x="76" y="1703"/>
                  </a:cubicBezTo>
                  <a:cubicBezTo>
                    <a:pt x="1333" y="142"/>
                    <a:pt x="1333" y="142"/>
                    <a:pt x="1333" y="142"/>
                  </a:cubicBezTo>
                  <a:cubicBezTo>
                    <a:pt x="1345" y="127"/>
                    <a:pt x="1359" y="112"/>
                    <a:pt x="1373" y="100"/>
                  </a:cubicBezTo>
                  <a:cubicBezTo>
                    <a:pt x="1488" y="2"/>
                    <a:pt x="1656" y="0"/>
                    <a:pt x="1774" y="94"/>
                  </a:cubicBezTo>
                  <a:cubicBezTo>
                    <a:pt x="1975" y="256"/>
                    <a:pt x="1975" y="256"/>
                    <a:pt x="1975" y="256"/>
                  </a:cubicBezTo>
                  <a:cubicBezTo>
                    <a:pt x="2041" y="309"/>
                    <a:pt x="2082" y="384"/>
                    <a:pt x="2091" y="467"/>
                  </a:cubicBezTo>
                  <a:cubicBezTo>
                    <a:pt x="2100" y="551"/>
                    <a:pt x="2076" y="632"/>
                    <a:pt x="2023" y="698"/>
                  </a:cubicBezTo>
                  <a:cubicBezTo>
                    <a:pt x="767" y="2258"/>
                    <a:pt x="767" y="2258"/>
                    <a:pt x="767" y="2258"/>
                  </a:cubicBezTo>
                  <a:cubicBezTo>
                    <a:pt x="754" y="2274"/>
                    <a:pt x="741" y="2288"/>
                    <a:pt x="726" y="2300"/>
                  </a:cubicBezTo>
                  <a:close/>
                  <a:moveTo>
                    <a:pt x="1390" y="119"/>
                  </a:moveTo>
                  <a:cubicBezTo>
                    <a:pt x="1376" y="130"/>
                    <a:pt x="1363" y="143"/>
                    <a:pt x="1352" y="158"/>
                  </a:cubicBezTo>
                  <a:cubicBezTo>
                    <a:pt x="96" y="1718"/>
                    <a:pt x="96" y="1718"/>
                    <a:pt x="96" y="1718"/>
                  </a:cubicBezTo>
                  <a:cubicBezTo>
                    <a:pt x="47" y="1778"/>
                    <a:pt x="25" y="1854"/>
                    <a:pt x="33" y="1930"/>
                  </a:cubicBezTo>
                  <a:cubicBezTo>
                    <a:pt x="42" y="2007"/>
                    <a:pt x="79" y="2076"/>
                    <a:pt x="139" y="2124"/>
                  </a:cubicBezTo>
                  <a:cubicBezTo>
                    <a:pt x="341" y="2287"/>
                    <a:pt x="341" y="2287"/>
                    <a:pt x="341" y="2287"/>
                  </a:cubicBezTo>
                  <a:cubicBezTo>
                    <a:pt x="449" y="2374"/>
                    <a:pt x="604" y="2371"/>
                    <a:pt x="710" y="2281"/>
                  </a:cubicBezTo>
                  <a:cubicBezTo>
                    <a:pt x="723" y="2270"/>
                    <a:pt x="736" y="2257"/>
                    <a:pt x="747" y="2243"/>
                  </a:cubicBezTo>
                  <a:cubicBezTo>
                    <a:pt x="2004" y="682"/>
                    <a:pt x="2004" y="682"/>
                    <a:pt x="2004" y="682"/>
                  </a:cubicBezTo>
                  <a:cubicBezTo>
                    <a:pt x="2052" y="622"/>
                    <a:pt x="2074" y="547"/>
                    <a:pt x="2066" y="470"/>
                  </a:cubicBezTo>
                  <a:cubicBezTo>
                    <a:pt x="2057" y="393"/>
                    <a:pt x="2020" y="324"/>
                    <a:pt x="1960" y="276"/>
                  </a:cubicBezTo>
                  <a:cubicBezTo>
                    <a:pt x="1758" y="114"/>
                    <a:pt x="1758" y="114"/>
                    <a:pt x="1758" y="114"/>
                  </a:cubicBezTo>
                  <a:cubicBezTo>
                    <a:pt x="1650" y="27"/>
                    <a:pt x="1495" y="29"/>
                    <a:pt x="1390" y="119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22">
              <a:extLst>
                <a:ext uri="{FF2B5EF4-FFF2-40B4-BE49-F238E27FC236}">
                  <a16:creationId xmlns:a16="http://schemas.microsoft.com/office/drawing/2014/main" id="{F7C0C524-7B15-D141-86BB-33A249A8C72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9593" y="2789333"/>
              <a:ext cx="157228" cy="147223"/>
            </a:xfrm>
            <a:custGeom>
              <a:avLst/>
              <a:gdLst>
                <a:gd name="T0" fmla="*/ 560 w 657"/>
                <a:gd name="T1" fmla="*/ 243 h 614"/>
                <a:gd name="T2" fmla="*/ 590 w 657"/>
                <a:gd name="T3" fmla="*/ 517 h 614"/>
                <a:gd name="T4" fmla="*/ 590 w 657"/>
                <a:gd name="T5" fmla="*/ 517 h 614"/>
                <a:gd name="T6" fmla="*/ 316 w 657"/>
                <a:gd name="T7" fmla="*/ 547 h 614"/>
                <a:gd name="T8" fmla="*/ 98 w 657"/>
                <a:gd name="T9" fmla="*/ 371 h 614"/>
                <a:gd name="T10" fmla="*/ 68 w 657"/>
                <a:gd name="T11" fmla="*/ 97 h 614"/>
                <a:gd name="T12" fmla="*/ 68 w 657"/>
                <a:gd name="T13" fmla="*/ 97 h 614"/>
                <a:gd name="T14" fmla="*/ 342 w 657"/>
                <a:gd name="T15" fmla="*/ 67 h 614"/>
                <a:gd name="T16" fmla="*/ 560 w 657"/>
                <a:gd name="T17" fmla="*/ 243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7" h="614">
                  <a:moveTo>
                    <a:pt x="560" y="243"/>
                  </a:moveTo>
                  <a:cubicBezTo>
                    <a:pt x="644" y="310"/>
                    <a:pt x="657" y="433"/>
                    <a:pt x="590" y="517"/>
                  </a:cubicBezTo>
                  <a:cubicBezTo>
                    <a:pt x="590" y="517"/>
                    <a:pt x="590" y="517"/>
                    <a:pt x="590" y="517"/>
                  </a:cubicBezTo>
                  <a:cubicBezTo>
                    <a:pt x="522" y="601"/>
                    <a:pt x="399" y="614"/>
                    <a:pt x="316" y="547"/>
                  </a:cubicBezTo>
                  <a:cubicBezTo>
                    <a:pt x="98" y="371"/>
                    <a:pt x="98" y="371"/>
                    <a:pt x="98" y="371"/>
                  </a:cubicBezTo>
                  <a:cubicBezTo>
                    <a:pt x="14" y="304"/>
                    <a:pt x="0" y="181"/>
                    <a:pt x="68" y="97"/>
                  </a:cubicBezTo>
                  <a:cubicBezTo>
                    <a:pt x="68" y="97"/>
                    <a:pt x="68" y="97"/>
                    <a:pt x="68" y="97"/>
                  </a:cubicBezTo>
                  <a:cubicBezTo>
                    <a:pt x="136" y="13"/>
                    <a:pt x="258" y="0"/>
                    <a:pt x="342" y="67"/>
                  </a:cubicBezTo>
                  <a:lnTo>
                    <a:pt x="560" y="243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23">
              <a:extLst>
                <a:ext uri="{FF2B5EF4-FFF2-40B4-BE49-F238E27FC236}">
                  <a16:creationId xmlns:a16="http://schemas.microsoft.com/office/drawing/2014/main" id="{F984F14B-FB4F-8A45-8C62-B1BC5B96FBD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6772" y="2707860"/>
              <a:ext cx="157228" cy="147223"/>
            </a:xfrm>
            <a:custGeom>
              <a:avLst/>
              <a:gdLst>
                <a:gd name="T0" fmla="*/ 560 w 657"/>
                <a:gd name="T1" fmla="*/ 243 h 615"/>
                <a:gd name="T2" fmla="*/ 589 w 657"/>
                <a:gd name="T3" fmla="*/ 517 h 615"/>
                <a:gd name="T4" fmla="*/ 589 w 657"/>
                <a:gd name="T5" fmla="*/ 517 h 615"/>
                <a:gd name="T6" fmla="*/ 315 w 657"/>
                <a:gd name="T7" fmla="*/ 547 h 615"/>
                <a:gd name="T8" fmla="*/ 97 w 657"/>
                <a:gd name="T9" fmla="*/ 372 h 615"/>
                <a:gd name="T10" fmla="*/ 67 w 657"/>
                <a:gd name="T11" fmla="*/ 97 h 615"/>
                <a:gd name="T12" fmla="*/ 67 w 657"/>
                <a:gd name="T13" fmla="*/ 97 h 615"/>
                <a:gd name="T14" fmla="*/ 342 w 657"/>
                <a:gd name="T15" fmla="*/ 68 h 615"/>
                <a:gd name="T16" fmla="*/ 560 w 657"/>
                <a:gd name="T17" fmla="*/ 243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7" h="615">
                  <a:moveTo>
                    <a:pt x="560" y="243"/>
                  </a:moveTo>
                  <a:cubicBezTo>
                    <a:pt x="643" y="311"/>
                    <a:pt x="657" y="433"/>
                    <a:pt x="589" y="517"/>
                  </a:cubicBezTo>
                  <a:cubicBezTo>
                    <a:pt x="589" y="517"/>
                    <a:pt x="589" y="517"/>
                    <a:pt x="589" y="517"/>
                  </a:cubicBezTo>
                  <a:cubicBezTo>
                    <a:pt x="522" y="601"/>
                    <a:pt x="399" y="615"/>
                    <a:pt x="315" y="547"/>
                  </a:cubicBezTo>
                  <a:cubicBezTo>
                    <a:pt x="97" y="372"/>
                    <a:pt x="97" y="372"/>
                    <a:pt x="97" y="372"/>
                  </a:cubicBezTo>
                  <a:cubicBezTo>
                    <a:pt x="13" y="304"/>
                    <a:pt x="0" y="181"/>
                    <a:pt x="67" y="97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135" y="13"/>
                    <a:pt x="258" y="0"/>
                    <a:pt x="342" y="68"/>
                  </a:cubicBezTo>
                  <a:lnTo>
                    <a:pt x="560" y="243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24">
              <a:extLst>
                <a:ext uri="{FF2B5EF4-FFF2-40B4-BE49-F238E27FC236}">
                  <a16:creationId xmlns:a16="http://schemas.microsoft.com/office/drawing/2014/main" id="{068A8EC3-B28C-2F46-9E1B-E65C76687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6881" y="2459153"/>
              <a:ext cx="157228" cy="147223"/>
            </a:xfrm>
            <a:custGeom>
              <a:avLst/>
              <a:gdLst>
                <a:gd name="T0" fmla="*/ 559 w 657"/>
                <a:gd name="T1" fmla="*/ 243 h 615"/>
                <a:gd name="T2" fmla="*/ 589 w 657"/>
                <a:gd name="T3" fmla="*/ 517 h 615"/>
                <a:gd name="T4" fmla="*/ 589 w 657"/>
                <a:gd name="T5" fmla="*/ 517 h 615"/>
                <a:gd name="T6" fmla="*/ 315 w 657"/>
                <a:gd name="T7" fmla="*/ 547 h 615"/>
                <a:gd name="T8" fmla="*/ 97 w 657"/>
                <a:gd name="T9" fmla="*/ 372 h 615"/>
                <a:gd name="T10" fmla="*/ 67 w 657"/>
                <a:gd name="T11" fmla="*/ 97 h 615"/>
                <a:gd name="T12" fmla="*/ 67 w 657"/>
                <a:gd name="T13" fmla="*/ 97 h 615"/>
                <a:gd name="T14" fmla="*/ 341 w 657"/>
                <a:gd name="T15" fmla="*/ 68 h 615"/>
                <a:gd name="T16" fmla="*/ 559 w 657"/>
                <a:gd name="T17" fmla="*/ 243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7" h="615">
                  <a:moveTo>
                    <a:pt x="559" y="243"/>
                  </a:moveTo>
                  <a:cubicBezTo>
                    <a:pt x="643" y="311"/>
                    <a:pt x="657" y="433"/>
                    <a:pt x="589" y="517"/>
                  </a:cubicBezTo>
                  <a:cubicBezTo>
                    <a:pt x="589" y="517"/>
                    <a:pt x="589" y="517"/>
                    <a:pt x="589" y="517"/>
                  </a:cubicBezTo>
                  <a:cubicBezTo>
                    <a:pt x="521" y="601"/>
                    <a:pt x="399" y="615"/>
                    <a:pt x="315" y="547"/>
                  </a:cubicBezTo>
                  <a:cubicBezTo>
                    <a:pt x="97" y="372"/>
                    <a:pt x="97" y="372"/>
                    <a:pt x="97" y="372"/>
                  </a:cubicBezTo>
                  <a:cubicBezTo>
                    <a:pt x="13" y="304"/>
                    <a:pt x="0" y="181"/>
                    <a:pt x="67" y="97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135" y="13"/>
                    <a:pt x="258" y="0"/>
                    <a:pt x="341" y="68"/>
                  </a:cubicBezTo>
                  <a:lnTo>
                    <a:pt x="559" y="243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25">
              <a:extLst>
                <a:ext uri="{FF2B5EF4-FFF2-40B4-BE49-F238E27FC236}">
                  <a16:creationId xmlns:a16="http://schemas.microsoft.com/office/drawing/2014/main" id="{6E21C1DD-5063-B042-8AC6-411A0435A1E5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9702" y="2542056"/>
              <a:ext cx="157228" cy="147223"/>
            </a:xfrm>
            <a:custGeom>
              <a:avLst/>
              <a:gdLst>
                <a:gd name="T0" fmla="*/ 560 w 657"/>
                <a:gd name="T1" fmla="*/ 243 h 614"/>
                <a:gd name="T2" fmla="*/ 590 w 657"/>
                <a:gd name="T3" fmla="*/ 517 h 614"/>
                <a:gd name="T4" fmla="*/ 590 w 657"/>
                <a:gd name="T5" fmla="*/ 517 h 614"/>
                <a:gd name="T6" fmla="*/ 315 w 657"/>
                <a:gd name="T7" fmla="*/ 547 h 614"/>
                <a:gd name="T8" fmla="*/ 97 w 657"/>
                <a:gd name="T9" fmla="*/ 371 h 614"/>
                <a:gd name="T10" fmla="*/ 68 w 657"/>
                <a:gd name="T11" fmla="*/ 97 h 614"/>
                <a:gd name="T12" fmla="*/ 68 w 657"/>
                <a:gd name="T13" fmla="*/ 97 h 614"/>
                <a:gd name="T14" fmla="*/ 342 w 657"/>
                <a:gd name="T15" fmla="*/ 67 h 614"/>
                <a:gd name="T16" fmla="*/ 560 w 657"/>
                <a:gd name="T17" fmla="*/ 243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7" h="614">
                  <a:moveTo>
                    <a:pt x="560" y="243"/>
                  </a:moveTo>
                  <a:cubicBezTo>
                    <a:pt x="644" y="310"/>
                    <a:pt x="657" y="433"/>
                    <a:pt x="590" y="517"/>
                  </a:cubicBezTo>
                  <a:cubicBezTo>
                    <a:pt x="590" y="517"/>
                    <a:pt x="590" y="517"/>
                    <a:pt x="590" y="517"/>
                  </a:cubicBezTo>
                  <a:cubicBezTo>
                    <a:pt x="522" y="601"/>
                    <a:pt x="399" y="614"/>
                    <a:pt x="315" y="547"/>
                  </a:cubicBezTo>
                  <a:cubicBezTo>
                    <a:pt x="97" y="371"/>
                    <a:pt x="97" y="371"/>
                    <a:pt x="97" y="371"/>
                  </a:cubicBezTo>
                  <a:cubicBezTo>
                    <a:pt x="14" y="304"/>
                    <a:pt x="0" y="181"/>
                    <a:pt x="68" y="97"/>
                  </a:cubicBezTo>
                  <a:cubicBezTo>
                    <a:pt x="68" y="97"/>
                    <a:pt x="68" y="97"/>
                    <a:pt x="68" y="97"/>
                  </a:cubicBezTo>
                  <a:cubicBezTo>
                    <a:pt x="135" y="13"/>
                    <a:pt x="258" y="0"/>
                    <a:pt x="342" y="67"/>
                  </a:cubicBezTo>
                  <a:lnTo>
                    <a:pt x="560" y="243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26">
              <a:extLst>
                <a:ext uri="{FF2B5EF4-FFF2-40B4-BE49-F238E27FC236}">
                  <a16:creationId xmlns:a16="http://schemas.microsoft.com/office/drawing/2014/main" id="{8692ACDC-DB15-3248-8E0C-AFDDC6C9F2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2522" y="2624958"/>
              <a:ext cx="157228" cy="147223"/>
            </a:xfrm>
            <a:custGeom>
              <a:avLst/>
              <a:gdLst>
                <a:gd name="T0" fmla="*/ 560 w 657"/>
                <a:gd name="T1" fmla="*/ 243 h 615"/>
                <a:gd name="T2" fmla="*/ 589 w 657"/>
                <a:gd name="T3" fmla="*/ 518 h 615"/>
                <a:gd name="T4" fmla="*/ 589 w 657"/>
                <a:gd name="T5" fmla="*/ 518 h 615"/>
                <a:gd name="T6" fmla="*/ 315 w 657"/>
                <a:gd name="T7" fmla="*/ 547 h 615"/>
                <a:gd name="T8" fmla="*/ 97 w 657"/>
                <a:gd name="T9" fmla="*/ 372 h 615"/>
                <a:gd name="T10" fmla="*/ 68 w 657"/>
                <a:gd name="T11" fmla="*/ 98 h 615"/>
                <a:gd name="T12" fmla="*/ 68 w 657"/>
                <a:gd name="T13" fmla="*/ 98 h 615"/>
                <a:gd name="T14" fmla="*/ 342 w 657"/>
                <a:gd name="T15" fmla="*/ 68 h 615"/>
                <a:gd name="T16" fmla="*/ 560 w 657"/>
                <a:gd name="T17" fmla="*/ 243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7" h="615">
                  <a:moveTo>
                    <a:pt x="560" y="243"/>
                  </a:moveTo>
                  <a:cubicBezTo>
                    <a:pt x="644" y="311"/>
                    <a:pt x="657" y="434"/>
                    <a:pt x="589" y="518"/>
                  </a:cubicBezTo>
                  <a:cubicBezTo>
                    <a:pt x="589" y="518"/>
                    <a:pt x="589" y="518"/>
                    <a:pt x="589" y="518"/>
                  </a:cubicBezTo>
                  <a:cubicBezTo>
                    <a:pt x="522" y="602"/>
                    <a:pt x="399" y="615"/>
                    <a:pt x="315" y="547"/>
                  </a:cubicBezTo>
                  <a:cubicBezTo>
                    <a:pt x="97" y="372"/>
                    <a:pt x="97" y="372"/>
                    <a:pt x="97" y="372"/>
                  </a:cubicBezTo>
                  <a:cubicBezTo>
                    <a:pt x="13" y="304"/>
                    <a:pt x="0" y="181"/>
                    <a:pt x="68" y="98"/>
                  </a:cubicBezTo>
                  <a:cubicBezTo>
                    <a:pt x="68" y="98"/>
                    <a:pt x="68" y="98"/>
                    <a:pt x="68" y="98"/>
                  </a:cubicBezTo>
                  <a:cubicBezTo>
                    <a:pt x="135" y="14"/>
                    <a:pt x="258" y="0"/>
                    <a:pt x="342" y="68"/>
                  </a:cubicBezTo>
                  <a:lnTo>
                    <a:pt x="560" y="243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27">
              <a:extLst>
                <a:ext uri="{FF2B5EF4-FFF2-40B4-BE49-F238E27FC236}">
                  <a16:creationId xmlns:a16="http://schemas.microsoft.com/office/drawing/2014/main" id="{8CD57C48-F2F2-A740-9B70-731F38F8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8136" y="2499175"/>
              <a:ext cx="578887" cy="507419"/>
            </a:xfrm>
            <a:custGeom>
              <a:avLst/>
              <a:gdLst>
                <a:gd name="T0" fmla="*/ 2311 w 2414"/>
                <a:gd name="T1" fmla="*/ 357 h 2122"/>
                <a:gd name="T2" fmla="*/ 2260 w 2414"/>
                <a:gd name="T3" fmla="*/ 780 h 2122"/>
                <a:gd name="T4" fmla="*/ 686 w 2414"/>
                <a:gd name="T5" fmla="*/ 2019 h 2122"/>
                <a:gd name="T6" fmla="*/ 263 w 2414"/>
                <a:gd name="T7" fmla="*/ 1968 h 2122"/>
                <a:gd name="T8" fmla="*/ 103 w 2414"/>
                <a:gd name="T9" fmla="*/ 1765 h 2122"/>
                <a:gd name="T10" fmla="*/ 153 w 2414"/>
                <a:gd name="T11" fmla="*/ 1342 h 2122"/>
                <a:gd name="T12" fmla="*/ 1727 w 2414"/>
                <a:gd name="T13" fmla="*/ 103 h 2122"/>
                <a:gd name="T14" fmla="*/ 2151 w 2414"/>
                <a:gd name="T15" fmla="*/ 153 h 2122"/>
                <a:gd name="T16" fmla="*/ 2311 w 2414"/>
                <a:gd name="T17" fmla="*/ 357 h 2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14" h="2122">
                  <a:moveTo>
                    <a:pt x="2311" y="357"/>
                  </a:moveTo>
                  <a:cubicBezTo>
                    <a:pt x="2414" y="487"/>
                    <a:pt x="2391" y="677"/>
                    <a:pt x="2260" y="780"/>
                  </a:cubicBezTo>
                  <a:cubicBezTo>
                    <a:pt x="686" y="2019"/>
                    <a:pt x="686" y="2019"/>
                    <a:pt x="686" y="2019"/>
                  </a:cubicBezTo>
                  <a:cubicBezTo>
                    <a:pt x="555" y="2122"/>
                    <a:pt x="366" y="2099"/>
                    <a:pt x="263" y="1968"/>
                  </a:cubicBezTo>
                  <a:cubicBezTo>
                    <a:pt x="103" y="1765"/>
                    <a:pt x="103" y="1765"/>
                    <a:pt x="103" y="1765"/>
                  </a:cubicBezTo>
                  <a:cubicBezTo>
                    <a:pt x="0" y="1634"/>
                    <a:pt x="22" y="1445"/>
                    <a:pt x="153" y="1342"/>
                  </a:cubicBezTo>
                  <a:cubicBezTo>
                    <a:pt x="1727" y="103"/>
                    <a:pt x="1727" y="103"/>
                    <a:pt x="1727" y="103"/>
                  </a:cubicBezTo>
                  <a:cubicBezTo>
                    <a:pt x="1858" y="0"/>
                    <a:pt x="2048" y="22"/>
                    <a:pt x="2151" y="153"/>
                  </a:cubicBezTo>
                  <a:lnTo>
                    <a:pt x="2311" y="357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28">
              <a:extLst>
                <a:ext uri="{FF2B5EF4-FFF2-40B4-BE49-F238E27FC236}">
                  <a16:creationId xmlns:a16="http://schemas.microsoft.com/office/drawing/2014/main" id="{02D20749-44A2-9C4A-9478-6F47152CD1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1027" y="2896534"/>
              <a:ext cx="50027" cy="51457"/>
            </a:xfrm>
            <a:custGeom>
              <a:avLst/>
              <a:gdLst>
                <a:gd name="T0" fmla="*/ 180 w 212"/>
                <a:gd name="T1" fmla="*/ 48 h 212"/>
                <a:gd name="T2" fmla="*/ 165 w 212"/>
                <a:gd name="T3" fmla="*/ 180 h 212"/>
                <a:gd name="T4" fmla="*/ 32 w 212"/>
                <a:gd name="T5" fmla="*/ 164 h 212"/>
                <a:gd name="T6" fmla="*/ 48 w 212"/>
                <a:gd name="T7" fmla="*/ 32 h 212"/>
                <a:gd name="T8" fmla="*/ 180 w 212"/>
                <a:gd name="T9" fmla="*/ 48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" h="212">
                  <a:moveTo>
                    <a:pt x="180" y="48"/>
                  </a:moveTo>
                  <a:cubicBezTo>
                    <a:pt x="212" y="89"/>
                    <a:pt x="205" y="148"/>
                    <a:pt x="165" y="180"/>
                  </a:cubicBezTo>
                  <a:cubicBezTo>
                    <a:pt x="124" y="212"/>
                    <a:pt x="64" y="205"/>
                    <a:pt x="32" y="164"/>
                  </a:cubicBezTo>
                  <a:cubicBezTo>
                    <a:pt x="0" y="123"/>
                    <a:pt x="7" y="64"/>
                    <a:pt x="48" y="32"/>
                  </a:cubicBezTo>
                  <a:cubicBezTo>
                    <a:pt x="89" y="0"/>
                    <a:pt x="148" y="7"/>
                    <a:pt x="180" y="48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8442887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7B7FF85-0869-3348-90FD-BF53A24A27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Genetic</a:t>
            </a:r>
            <a:r>
              <a:rPr kumimoji="1" lang="zh-CN" altLang="en-US" dirty="0"/>
              <a:t> </a:t>
            </a:r>
            <a:r>
              <a:rPr kumimoji="1" lang="en-US" altLang="zh-CN" dirty="0"/>
              <a:t>Algorithm</a:t>
            </a:r>
            <a:endParaRPr kumimoji="1" lang="zh-CN" altLang="en-US" dirty="0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F53256F8-B094-1B49-9791-94896B4F26E1}"/>
              </a:ext>
            </a:extLst>
          </p:cNvPr>
          <p:cNvSpPr txBox="1"/>
          <p:nvPr/>
        </p:nvSpPr>
        <p:spPr>
          <a:xfrm>
            <a:off x="612920" y="1121992"/>
            <a:ext cx="4713142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itchFamily="2" charset="2"/>
              <a:buChar char="Ø"/>
            </a:pPr>
            <a:r>
              <a:rPr kumimoji="1" lang="en" altLang="zh-CN" sz="2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ossover</a:t>
            </a:r>
          </a:p>
          <a:p>
            <a:pPr marL="285750" indent="-285750" algn="just">
              <a:buFont typeface="Wingdings" pitchFamily="2" charset="2"/>
              <a:buChar char="Ø"/>
            </a:pPr>
            <a:endParaRPr kumimoji="1" lang="en" altLang="zh-CN" sz="200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 algn="just">
              <a:buFont typeface="Wingdings" pitchFamily="2" charset="2"/>
              <a:buChar char="Ø"/>
            </a:pPr>
            <a:r>
              <a:rPr kumimoji="1" lang="en" altLang="zh-CN" sz="2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bine the sequence of</a:t>
            </a:r>
            <a:r>
              <a:rPr kumimoji="1" lang="zh-CN" altLang="en-US" sz="2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" altLang="zh-CN" sz="2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perations on </a:t>
            </a:r>
            <a:r>
              <a:rPr kumimoji="1" lang="en-US" altLang="zh-CN" sz="2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</a:t>
            </a:r>
            <a:r>
              <a:rPr kumimoji="1" lang="zh-CN" altLang="en-US" sz="2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2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ngle</a:t>
            </a:r>
            <a:r>
              <a:rPr kumimoji="1" lang="en" altLang="zh-CN" sz="2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machine</a:t>
            </a:r>
            <a:r>
              <a:rPr kumimoji="1" lang="zh-CN" altLang="en-US" sz="2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" altLang="zh-CN" sz="2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 one parent</a:t>
            </a:r>
            <a:r>
              <a:rPr kumimoji="1" lang="zh-CN" altLang="en-US" sz="2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" altLang="zh-CN" sz="2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chedule with a sequence of operations on</a:t>
            </a:r>
            <a:r>
              <a:rPr kumimoji="1" lang="zh-CN" altLang="en-US" sz="2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" altLang="zh-CN" sz="2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other machine in another</a:t>
            </a:r>
            <a:r>
              <a:rPr kumimoji="1" lang="zh-CN" altLang="en-US" sz="2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2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fferent</a:t>
            </a:r>
            <a:r>
              <a:rPr kumimoji="1" lang="en" altLang="zh-CN" sz="2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arent</a:t>
            </a:r>
          </a:p>
          <a:p>
            <a:pPr marL="742950" lvl="1" indent="-285750" algn="just">
              <a:buFont typeface="Wingdings" pitchFamily="2" charset="2"/>
              <a:buChar char="Ø"/>
            </a:pPr>
            <a:endParaRPr kumimoji="1" lang="en" altLang="zh-CN" sz="200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 algn="just">
              <a:buFont typeface="Wingdings" pitchFamily="2" charset="2"/>
              <a:buChar char="Ø"/>
            </a:pPr>
            <a:r>
              <a:rPr kumimoji="1" lang="en" altLang="zh-CN" sz="2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rves the absolute positions of the jobs taken from P1</a:t>
            </a:r>
          </a:p>
          <a:p>
            <a:pPr marL="742950" lvl="1" indent="-285750" algn="just">
              <a:buFont typeface="Wingdings" pitchFamily="2" charset="2"/>
              <a:buChar char="Ø"/>
            </a:pPr>
            <a:endParaRPr kumimoji="1" lang="en" altLang="zh-CN" sz="200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 algn="just">
              <a:buFont typeface="Wingdings" pitchFamily="2" charset="2"/>
              <a:buChar char="Ø"/>
            </a:pPr>
            <a:r>
              <a:rPr kumimoji="1" lang="en" altLang="zh-CN" sz="2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rves the relative positions of jobs taken from P2</a:t>
            </a:r>
          </a:p>
        </p:txBody>
      </p:sp>
      <p:grpSp>
        <p:nvGrpSpPr>
          <p:cNvPr id="10" name="组合 9">
            <a:extLst>
              <a:ext uri="{FF2B5EF4-FFF2-40B4-BE49-F238E27FC236}">
                <a16:creationId xmlns:a16="http://schemas.microsoft.com/office/drawing/2014/main" id="{2DE2B2D8-BAD4-8A4E-85F7-D4725E85B3BE}"/>
              </a:ext>
            </a:extLst>
          </p:cNvPr>
          <p:cNvGrpSpPr/>
          <p:nvPr/>
        </p:nvGrpSpPr>
        <p:grpSpPr>
          <a:xfrm>
            <a:off x="5405602" y="1095091"/>
            <a:ext cx="6504878" cy="4521517"/>
            <a:chOff x="200722" y="1061869"/>
            <a:chExt cx="6504878" cy="4521517"/>
          </a:xfrm>
        </p:grpSpPr>
        <p:pic>
          <p:nvPicPr>
            <p:cNvPr id="5" name="图片 4">
              <a:extLst>
                <a:ext uri="{FF2B5EF4-FFF2-40B4-BE49-F238E27FC236}">
                  <a16:creationId xmlns:a16="http://schemas.microsoft.com/office/drawing/2014/main" id="{8E6481EA-5D70-604D-875F-4BA9F3E67C4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03561" y="1593850"/>
              <a:ext cx="6299200" cy="3670300"/>
            </a:xfrm>
            <a:prstGeom prst="rect">
              <a:avLst/>
            </a:prstGeom>
          </p:spPr>
        </p:pic>
        <p:sp>
          <p:nvSpPr>
            <p:cNvPr id="7" name="Rectangle 35">
              <a:extLst>
                <a:ext uri="{FF2B5EF4-FFF2-40B4-BE49-F238E27FC236}">
                  <a16:creationId xmlns:a16="http://schemas.microsoft.com/office/drawing/2014/main" id="{7471CE20-7B74-C24A-AA91-8325531BEBCA}"/>
                </a:ext>
              </a:extLst>
            </p:cNvPr>
            <p:cNvSpPr/>
            <p:nvPr/>
          </p:nvSpPr>
          <p:spPr>
            <a:xfrm>
              <a:off x="200722" y="1192073"/>
              <a:ext cx="6504878" cy="4391313"/>
            </a:xfrm>
            <a:prstGeom prst="rect">
              <a:avLst/>
            </a:prstGeom>
            <a:noFill/>
            <a:ln w="12700">
              <a:solidFill>
                <a:schemeClr val="accent1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dirty="0">
                <a:latin typeface="+mn-ea"/>
              </a:endParaRPr>
            </a:p>
          </p:txBody>
        </p:sp>
        <p:sp>
          <p:nvSpPr>
            <p:cNvPr id="9" name="TextBox 41">
              <a:extLst>
                <a:ext uri="{FF2B5EF4-FFF2-40B4-BE49-F238E27FC236}">
                  <a16:creationId xmlns:a16="http://schemas.microsoft.com/office/drawing/2014/main" id="{325235E5-CEAC-674E-AC2F-EEE96A547F65}"/>
                </a:ext>
              </a:extLst>
            </p:cNvPr>
            <p:cNvSpPr txBox="1"/>
            <p:nvPr/>
          </p:nvSpPr>
          <p:spPr>
            <a:xfrm>
              <a:off x="2124816" y="1061869"/>
              <a:ext cx="2107319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144000" indent="-144000">
                <a:buFont typeface="Arial" panose="020B0604020202020204" pitchFamily="34" charset="0"/>
                <a:buChar char="•"/>
                <a:defRPr sz="1400"/>
              </a:lvl1pPr>
            </a:lstStyle>
            <a:p>
              <a:pPr marL="0" indent="0" algn="ctr">
                <a:buNone/>
              </a:pPr>
              <a:r>
                <a:rPr lang="en-US" altLang="zh-CN" sz="1800" dirty="0">
                  <a:latin typeface="+mn-ea"/>
                  <a:ea typeface="+mn-ea"/>
                </a:rPr>
                <a:t>Method</a:t>
              </a:r>
              <a:r>
                <a:rPr lang="en-US" altLang="zh-CN" sz="1800" dirty="0">
                  <a:latin typeface="+mn-ea"/>
                </a:rPr>
                <a:t>:</a:t>
              </a:r>
              <a:r>
                <a:rPr lang="zh-CN" altLang="en-US" sz="1800" dirty="0">
                  <a:latin typeface="+mn-ea"/>
                </a:rPr>
                <a:t> </a:t>
              </a:r>
              <a:r>
                <a:rPr lang="en-US" altLang="zh-CN" sz="1800" dirty="0">
                  <a:latin typeface="+mn-ea"/>
                  <a:ea typeface="+mn-ea"/>
                </a:rPr>
                <a:t>Crossover</a:t>
              </a:r>
              <a:r>
                <a:rPr lang="zh-CN" altLang="en-US" sz="1800" dirty="0">
                  <a:latin typeface="+mn-ea"/>
                  <a:ea typeface="+mn-ea"/>
                </a:rPr>
                <a:t> </a:t>
              </a:r>
            </a:p>
          </p:txBody>
        </p:sp>
      </p:grpSp>
      <p:grpSp>
        <p:nvGrpSpPr>
          <p:cNvPr id="11" name="Group 39">
            <a:extLst>
              <a:ext uri="{FF2B5EF4-FFF2-40B4-BE49-F238E27FC236}">
                <a16:creationId xmlns:a16="http://schemas.microsoft.com/office/drawing/2014/main" id="{C40586A0-0373-7E4D-AF10-9A6BBE5699FD}"/>
              </a:ext>
            </a:extLst>
          </p:cNvPr>
          <p:cNvGrpSpPr/>
          <p:nvPr/>
        </p:nvGrpSpPr>
        <p:grpSpPr>
          <a:xfrm>
            <a:off x="206673" y="1121992"/>
            <a:ext cx="419753" cy="386080"/>
            <a:chOff x="2116138" y="2825751"/>
            <a:chExt cx="1014412" cy="1006475"/>
          </a:xfrm>
          <a:solidFill>
            <a:schemeClr val="accent3">
              <a:lumMod val="50000"/>
            </a:schemeClr>
          </a:solidFill>
        </p:grpSpPr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DA3772CC-3763-0643-9640-274B1BBF67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9638" y="3392488"/>
              <a:ext cx="434975" cy="439738"/>
            </a:xfrm>
            <a:custGeom>
              <a:avLst/>
              <a:gdLst>
                <a:gd name="T0" fmla="*/ 414 w 629"/>
                <a:gd name="T1" fmla="*/ 32 h 635"/>
                <a:gd name="T2" fmla="*/ 279 w 629"/>
                <a:gd name="T3" fmla="*/ 68 h 635"/>
                <a:gd name="T4" fmla="*/ 276 w 629"/>
                <a:gd name="T5" fmla="*/ 68 h 635"/>
                <a:gd name="T6" fmla="*/ 264 w 629"/>
                <a:gd name="T7" fmla="*/ 68 h 635"/>
                <a:gd name="T8" fmla="*/ 265 w 629"/>
                <a:gd name="T9" fmla="*/ 69 h 635"/>
                <a:gd name="T10" fmla="*/ 152 w 629"/>
                <a:gd name="T11" fmla="*/ 101 h 635"/>
                <a:gd name="T12" fmla="*/ 95 w 629"/>
                <a:gd name="T13" fmla="*/ 146 h 635"/>
                <a:gd name="T14" fmla="*/ 1 w 629"/>
                <a:gd name="T15" fmla="*/ 346 h 635"/>
                <a:gd name="T16" fmla="*/ 10 w 629"/>
                <a:gd name="T17" fmla="*/ 365 h 635"/>
                <a:gd name="T18" fmla="*/ 32 w 629"/>
                <a:gd name="T19" fmla="*/ 366 h 635"/>
                <a:gd name="T20" fmla="*/ 219 w 629"/>
                <a:gd name="T21" fmla="*/ 258 h 635"/>
                <a:gd name="T22" fmla="*/ 223 w 629"/>
                <a:gd name="T23" fmla="*/ 256 h 635"/>
                <a:gd name="T24" fmla="*/ 292 w 629"/>
                <a:gd name="T25" fmla="*/ 281 h 635"/>
                <a:gd name="T26" fmla="*/ 325 w 629"/>
                <a:gd name="T27" fmla="*/ 325 h 635"/>
                <a:gd name="T28" fmla="*/ 336 w 629"/>
                <a:gd name="T29" fmla="*/ 442 h 635"/>
                <a:gd name="T30" fmla="*/ 330 w 629"/>
                <a:gd name="T31" fmla="*/ 447 h 635"/>
                <a:gd name="T32" fmla="*/ 142 w 629"/>
                <a:gd name="T33" fmla="*/ 556 h 635"/>
                <a:gd name="T34" fmla="*/ 131 w 629"/>
                <a:gd name="T35" fmla="*/ 575 h 635"/>
                <a:gd name="T36" fmla="*/ 143 w 629"/>
                <a:gd name="T37" fmla="*/ 593 h 635"/>
                <a:gd name="T38" fmla="*/ 431 w 629"/>
                <a:gd name="T39" fmla="*/ 584 h 635"/>
                <a:gd name="T40" fmla="*/ 483 w 629"/>
                <a:gd name="T41" fmla="*/ 544 h 635"/>
                <a:gd name="T42" fmla="*/ 558 w 629"/>
                <a:gd name="T43" fmla="*/ 363 h 635"/>
                <a:gd name="T44" fmla="*/ 559 w 629"/>
                <a:gd name="T45" fmla="*/ 364 h 635"/>
                <a:gd name="T46" fmla="*/ 597 w 629"/>
                <a:gd name="T47" fmla="*/ 214 h 635"/>
                <a:gd name="T48" fmla="*/ 629 w 629"/>
                <a:gd name="T49" fmla="*/ 182 h 635"/>
                <a:gd name="T50" fmla="*/ 446 w 629"/>
                <a:gd name="T51" fmla="*/ 0 h 635"/>
                <a:gd name="T52" fmla="*/ 414 w 629"/>
                <a:gd name="T53" fmla="*/ 32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29" h="635">
                  <a:moveTo>
                    <a:pt x="414" y="32"/>
                  </a:moveTo>
                  <a:cubicBezTo>
                    <a:pt x="383" y="63"/>
                    <a:pt x="334" y="68"/>
                    <a:pt x="279" y="68"/>
                  </a:cubicBezTo>
                  <a:cubicBezTo>
                    <a:pt x="278" y="68"/>
                    <a:pt x="277" y="68"/>
                    <a:pt x="276" y="68"/>
                  </a:cubicBezTo>
                  <a:cubicBezTo>
                    <a:pt x="272" y="68"/>
                    <a:pt x="268" y="68"/>
                    <a:pt x="264" y="68"/>
                  </a:cubicBezTo>
                  <a:cubicBezTo>
                    <a:pt x="265" y="69"/>
                    <a:pt x="265" y="69"/>
                    <a:pt x="265" y="69"/>
                  </a:cubicBezTo>
                  <a:cubicBezTo>
                    <a:pt x="226" y="71"/>
                    <a:pt x="188" y="81"/>
                    <a:pt x="152" y="101"/>
                  </a:cubicBezTo>
                  <a:cubicBezTo>
                    <a:pt x="131" y="113"/>
                    <a:pt x="112" y="129"/>
                    <a:pt x="95" y="146"/>
                  </a:cubicBezTo>
                  <a:cubicBezTo>
                    <a:pt x="42" y="198"/>
                    <a:pt x="7" y="271"/>
                    <a:pt x="1" y="346"/>
                  </a:cubicBezTo>
                  <a:cubicBezTo>
                    <a:pt x="0" y="353"/>
                    <a:pt x="4" y="361"/>
                    <a:pt x="10" y="365"/>
                  </a:cubicBezTo>
                  <a:cubicBezTo>
                    <a:pt x="17" y="369"/>
                    <a:pt x="25" y="370"/>
                    <a:pt x="32" y="366"/>
                  </a:cubicBezTo>
                  <a:cubicBezTo>
                    <a:pt x="219" y="258"/>
                    <a:pt x="219" y="258"/>
                    <a:pt x="219" y="258"/>
                  </a:cubicBezTo>
                  <a:cubicBezTo>
                    <a:pt x="219" y="258"/>
                    <a:pt x="219" y="257"/>
                    <a:pt x="223" y="256"/>
                  </a:cubicBezTo>
                  <a:cubicBezTo>
                    <a:pt x="233" y="254"/>
                    <a:pt x="257" y="247"/>
                    <a:pt x="292" y="281"/>
                  </a:cubicBezTo>
                  <a:cubicBezTo>
                    <a:pt x="302" y="291"/>
                    <a:pt x="313" y="306"/>
                    <a:pt x="325" y="325"/>
                  </a:cubicBezTo>
                  <a:cubicBezTo>
                    <a:pt x="369" y="405"/>
                    <a:pt x="345" y="430"/>
                    <a:pt x="336" y="442"/>
                  </a:cubicBezTo>
                  <a:cubicBezTo>
                    <a:pt x="331" y="447"/>
                    <a:pt x="329" y="447"/>
                    <a:pt x="330" y="447"/>
                  </a:cubicBezTo>
                  <a:cubicBezTo>
                    <a:pt x="142" y="556"/>
                    <a:pt x="142" y="556"/>
                    <a:pt x="142" y="556"/>
                  </a:cubicBezTo>
                  <a:cubicBezTo>
                    <a:pt x="135" y="560"/>
                    <a:pt x="131" y="567"/>
                    <a:pt x="131" y="575"/>
                  </a:cubicBezTo>
                  <a:cubicBezTo>
                    <a:pt x="132" y="583"/>
                    <a:pt x="136" y="590"/>
                    <a:pt x="143" y="593"/>
                  </a:cubicBezTo>
                  <a:cubicBezTo>
                    <a:pt x="234" y="635"/>
                    <a:pt x="347" y="632"/>
                    <a:pt x="431" y="584"/>
                  </a:cubicBezTo>
                  <a:cubicBezTo>
                    <a:pt x="450" y="573"/>
                    <a:pt x="468" y="559"/>
                    <a:pt x="483" y="544"/>
                  </a:cubicBezTo>
                  <a:cubicBezTo>
                    <a:pt x="531" y="496"/>
                    <a:pt x="556" y="431"/>
                    <a:pt x="558" y="363"/>
                  </a:cubicBezTo>
                  <a:cubicBezTo>
                    <a:pt x="559" y="364"/>
                    <a:pt x="559" y="364"/>
                    <a:pt x="559" y="364"/>
                  </a:cubicBezTo>
                  <a:cubicBezTo>
                    <a:pt x="558" y="304"/>
                    <a:pt x="563" y="248"/>
                    <a:pt x="597" y="214"/>
                  </a:cubicBezTo>
                  <a:cubicBezTo>
                    <a:pt x="629" y="182"/>
                    <a:pt x="629" y="182"/>
                    <a:pt x="629" y="182"/>
                  </a:cubicBezTo>
                  <a:cubicBezTo>
                    <a:pt x="446" y="0"/>
                    <a:pt x="446" y="0"/>
                    <a:pt x="446" y="0"/>
                  </a:cubicBezTo>
                  <a:lnTo>
                    <a:pt x="414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3" name="Freeform 35">
              <a:extLst>
                <a:ext uri="{FF2B5EF4-FFF2-40B4-BE49-F238E27FC236}">
                  <a16:creationId xmlns:a16="http://schemas.microsoft.com/office/drawing/2014/main" id="{C47F8496-58B9-A84C-88E3-B5D59E264109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5700" y="3135313"/>
              <a:ext cx="688975" cy="688975"/>
            </a:xfrm>
            <a:custGeom>
              <a:avLst/>
              <a:gdLst>
                <a:gd name="T0" fmla="*/ 509 w 997"/>
                <a:gd name="T1" fmla="*/ 319 h 996"/>
                <a:gd name="T2" fmla="*/ 326 w 997"/>
                <a:gd name="T3" fmla="*/ 136 h 996"/>
                <a:gd name="T4" fmla="*/ 196 w 997"/>
                <a:gd name="T5" fmla="*/ 6 h 996"/>
                <a:gd name="T6" fmla="*/ 182 w 997"/>
                <a:gd name="T7" fmla="*/ 0 h 996"/>
                <a:gd name="T8" fmla="*/ 169 w 997"/>
                <a:gd name="T9" fmla="*/ 6 h 996"/>
                <a:gd name="T10" fmla="*/ 8 w 997"/>
                <a:gd name="T11" fmla="*/ 167 h 996"/>
                <a:gd name="T12" fmla="*/ 8 w 997"/>
                <a:gd name="T13" fmla="*/ 194 h 996"/>
                <a:gd name="T14" fmla="*/ 138 w 997"/>
                <a:gd name="T15" fmla="*/ 324 h 996"/>
                <a:gd name="T16" fmla="*/ 321 w 997"/>
                <a:gd name="T17" fmla="*/ 507 h 996"/>
                <a:gd name="T18" fmla="*/ 803 w 997"/>
                <a:gd name="T19" fmla="*/ 988 h 996"/>
                <a:gd name="T20" fmla="*/ 830 w 997"/>
                <a:gd name="T21" fmla="*/ 988 h 996"/>
                <a:gd name="T22" fmla="*/ 991 w 997"/>
                <a:gd name="T23" fmla="*/ 827 h 996"/>
                <a:gd name="T24" fmla="*/ 997 w 997"/>
                <a:gd name="T25" fmla="*/ 814 h 996"/>
                <a:gd name="T26" fmla="*/ 991 w 997"/>
                <a:gd name="T27" fmla="*/ 800 h 996"/>
                <a:gd name="T28" fmla="*/ 509 w 997"/>
                <a:gd name="T29" fmla="*/ 319 h 9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7" h="996">
                  <a:moveTo>
                    <a:pt x="509" y="319"/>
                  </a:moveTo>
                  <a:cubicBezTo>
                    <a:pt x="326" y="136"/>
                    <a:pt x="326" y="136"/>
                    <a:pt x="326" y="136"/>
                  </a:cubicBezTo>
                  <a:cubicBezTo>
                    <a:pt x="196" y="6"/>
                    <a:pt x="196" y="6"/>
                    <a:pt x="196" y="6"/>
                  </a:cubicBezTo>
                  <a:cubicBezTo>
                    <a:pt x="192" y="2"/>
                    <a:pt x="187" y="0"/>
                    <a:pt x="182" y="0"/>
                  </a:cubicBezTo>
                  <a:cubicBezTo>
                    <a:pt x="177" y="0"/>
                    <a:pt x="172" y="2"/>
                    <a:pt x="169" y="6"/>
                  </a:cubicBezTo>
                  <a:cubicBezTo>
                    <a:pt x="8" y="167"/>
                    <a:pt x="8" y="167"/>
                    <a:pt x="8" y="167"/>
                  </a:cubicBezTo>
                  <a:cubicBezTo>
                    <a:pt x="0" y="174"/>
                    <a:pt x="0" y="187"/>
                    <a:pt x="8" y="194"/>
                  </a:cubicBezTo>
                  <a:cubicBezTo>
                    <a:pt x="138" y="324"/>
                    <a:pt x="138" y="324"/>
                    <a:pt x="138" y="324"/>
                  </a:cubicBezTo>
                  <a:cubicBezTo>
                    <a:pt x="321" y="507"/>
                    <a:pt x="321" y="507"/>
                    <a:pt x="321" y="507"/>
                  </a:cubicBezTo>
                  <a:cubicBezTo>
                    <a:pt x="803" y="988"/>
                    <a:pt x="803" y="988"/>
                    <a:pt x="803" y="988"/>
                  </a:cubicBezTo>
                  <a:cubicBezTo>
                    <a:pt x="810" y="996"/>
                    <a:pt x="822" y="996"/>
                    <a:pt x="830" y="988"/>
                  </a:cubicBezTo>
                  <a:cubicBezTo>
                    <a:pt x="991" y="827"/>
                    <a:pt x="991" y="827"/>
                    <a:pt x="991" y="827"/>
                  </a:cubicBezTo>
                  <a:cubicBezTo>
                    <a:pt x="995" y="824"/>
                    <a:pt x="997" y="819"/>
                    <a:pt x="997" y="814"/>
                  </a:cubicBezTo>
                  <a:cubicBezTo>
                    <a:pt x="997" y="809"/>
                    <a:pt x="995" y="804"/>
                    <a:pt x="991" y="800"/>
                  </a:cubicBezTo>
                  <a:lnTo>
                    <a:pt x="509" y="3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4" name="Freeform 36">
              <a:extLst>
                <a:ext uri="{FF2B5EF4-FFF2-40B4-BE49-F238E27FC236}">
                  <a16:creationId xmlns:a16="http://schemas.microsoft.com/office/drawing/2014/main" id="{DBF26E7E-5DF1-9E48-A3D4-17E982F40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2875" y="2871788"/>
              <a:ext cx="447675" cy="452438"/>
            </a:xfrm>
            <a:custGeom>
              <a:avLst/>
              <a:gdLst>
                <a:gd name="T0" fmla="*/ 636 w 646"/>
                <a:gd name="T1" fmla="*/ 269 h 652"/>
                <a:gd name="T2" fmla="*/ 614 w 646"/>
                <a:gd name="T3" fmla="*/ 269 h 652"/>
                <a:gd name="T4" fmla="*/ 428 w 646"/>
                <a:gd name="T5" fmla="*/ 376 h 652"/>
                <a:gd name="T6" fmla="*/ 424 w 646"/>
                <a:gd name="T7" fmla="*/ 378 h 652"/>
                <a:gd name="T8" fmla="*/ 355 w 646"/>
                <a:gd name="T9" fmla="*/ 353 h 652"/>
                <a:gd name="T10" fmla="*/ 322 w 646"/>
                <a:gd name="T11" fmla="*/ 309 h 652"/>
                <a:gd name="T12" fmla="*/ 311 w 646"/>
                <a:gd name="T13" fmla="*/ 192 h 652"/>
                <a:gd name="T14" fmla="*/ 317 w 646"/>
                <a:gd name="T15" fmla="*/ 187 h 652"/>
                <a:gd name="T16" fmla="*/ 505 w 646"/>
                <a:gd name="T17" fmla="*/ 79 h 652"/>
                <a:gd name="T18" fmla="*/ 515 w 646"/>
                <a:gd name="T19" fmla="*/ 59 h 652"/>
                <a:gd name="T20" fmla="*/ 503 w 646"/>
                <a:gd name="T21" fmla="*/ 41 h 652"/>
                <a:gd name="T22" fmla="*/ 216 w 646"/>
                <a:gd name="T23" fmla="*/ 51 h 652"/>
                <a:gd name="T24" fmla="*/ 164 w 646"/>
                <a:gd name="T25" fmla="*/ 90 h 652"/>
                <a:gd name="T26" fmla="*/ 89 w 646"/>
                <a:gd name="T27" fmla="*/ 271 h 652"/>
                <a:gd name="T28" fmla="*/ 88 w 646"/>
                <a:gd name="T29" fmla="*/ 270 h 652"/>
                <a:gd name="T30" fmla="*/ 49 w 646"/>
                <a:gd name="T31" fmla="*/ 420 h 652"/>
                <a:gd name="T32" fmla="*/ 0 w 646"/>
                <a:gd name="T33" fmla="*/ 469 h 652"/>
                <a:gd name="T34" fmla="*/ 182 w 646"/>
                <a:gd name="T35" fmla="*/ 652 h 652"/>
                <a:gd name="T36" fmla="*/ 232 w 646"/>
                <a:gd name="T37" fmla="*/ 603 h 652"/>
                <a:gd name="T38" fmla="*/ 367 w 646"/>
                <a:gd name="T39" fmla="*/ 566 h 652"/>
                <a:gd name="T40" fmla="*/ 370 w 646"/>
                <a:gd name="T41" fmla="*/ 567 h 652"/>
                <a:gd name="T42" fmla="*/ 383 w 646"/>
                <a:gd name="T43" fmla="*/ 567 h 652"/>
                <a:gd name="T44" fmla="*/ 382 w 646"/>
                <a:gd name="T45" fmla="*/ 565 h 652"/>
                <a:gd name="T46" fmla="*/ 494 w 646"/>
                <a:gd name="T47" fmla="*/ 533 h 652"/>
                <a:gd name="T48" fmla="*/ 552 w 646"/>
                <a:gd name="T49" fmla="*/ 488 h 652"/>
                <a:gd name="T50" fmla="*/ 646 w 646"/>
                <a:gd name="T51" fmla="*/ 289 h 652"/>
                <a:gd name="T52" fmla="*/ 636 w 646"/>
                <a:gd name="T53" fmla="*/ 269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46" h="652">
                  <a:moveTo>
                    <a:pt x="636" y="269"/>
                  </a:moveTo>
                  <a:cubicBezTo>
                    <a:pt x="630" y="265"/>
                    <a:pt x="621" y="265"/>
                    <a:pt x="614" y="269"/>
                  </a:cubicBezTo>
                  <a:cubicBezTo>
                    <a:pt x="428" y="376"/>
                    <a:pt x="428" y="376"/>
                    <a:pt x="428" y="376"/>
                  </a:cubicBezTo>
                  <a:cubicBezTo>
                    <a:pt x="428" y="376"/>
                    <a:pt x="427" y="377"/>
                    <a:pt x="424" y="378"/>
                  </a:cubicBezTo>
                  <a:cubicBezTo>
                    <a:pt x="413" y="381"/>
                    <a:pt x="389" y="387"/>
                    <a:pt x="355" y="353"/>
                  </a:cubicBezTo>
                  <a:cubicBezTo>
                    <a:pt x="344" y="343"/>
                    <a:pt x="333" y="329"/>
                    <a:pt x="322" y="309"/>
                  </a:cubicBezTo>
                  <a:cubicBezTo>
                    <a:pt x="278" y="229"/>
                    <a:pt x="301" y="204"/>
                    <a:pt x="311" y="192"/>
                  </a:cubicBezTo>
                  <a:cubicBezTo>
                    <a:pt x="315" y="188"/>
                    <a:pt x="317" y="187"/>
                    <a:pt x="317" y="187"/>
                  </a:cubicBezTo>
                  <a:cubicBezTo>
                    <a:pt x="505" y="79"/>
                    <a:pt x="505" y="79"/>
                    <a:pt x="505" y="79"/>
                  </a:cubicBezTo>
                  <a:cubicBezTo>
                    <a:pt x="512" y="75"/>
                    <a:pt x="516" y="67"/>
                    <a:pt x="515" y="59"/>
                  </a:cubicBezTo>
                  <a:cubicBezTo>
                    <a:pt x="515" y="52"/>
                    <a:pt x="510" y="45"/>
                    <a:pt x="503" y="41"/>
                  </a:cubicBezTo>
                  <a:cubicBezTo>
                    <a:pt x="412" y="0"/>
                    <a:pt x="300" y="2"/>
                    <a:pt x="216" y="51"/>
                  </a:cubicBezTo>
                  <a:cubicBezTo>
                    <a:pt x="196" y="62"/>
                    <a:pt x="179" y="75"/>
                    <a:pt x="164" y="90"/>
                  </a:cubicBezTo>
                  <a:cubicBezTo>
                    <a:pt x="116" y="138"/>
                    <a:pt x="90" y="203"/>
                    <a:pt x="89" y="271"/>
                  </a:cubicBezTo>
                  <a:cubicBezTo>
                    <a:pt x="88" y="270"/>
                    <a:pt x="88" y="270"/>
                    <a:pt x="88" y="270"/>
                  </a:cubicBezTo>
                  <a:cubicBezTo>
                    <a:pt x="89" y="331"/>
                    <a:pt x="83" y="386"/>
                    <a:pt x="49" y="420"/>
                  </a:cubicBezTo>
                  <a:cubicBezTo>
                    <a:pt x="0" y="469"/>
                    <a:pt x="0" y="469"/>
                    <a:pt x="0" y="469"/>
                  </a:cubicBezTo>
                  <a:cubicBezTo>
                    <a:pt x="182" y="652"/>
                    <a:pt x="182" y="652"/>
                    <a:pt x="182" y="652"/>
                  </a:cubicBezTo>
                  <a:cubicBezTo>
                    <a:pt x="232" y="603"/>
                    <a:pt x="232" y="603"/>
                    <a:pt x="232" y="603"/>
                  </a:cubicBezTo>
                  <a:cubicBezTo>
                    <a:pt x="263" y="572"/>
                    <a:pt x="313" y="566"/>
                    <a:pt x="367" y="566"/>
                  </a:cubicBezTo>
                  <a:cubicBezTo>
                    <a:pt x="368" y="567"/>
                    <a:pt x="369" y="567"/>
                    <a:pt x="370" y="567"/>
                  </a:cubicBezTo>
                  <a:cubicBezTo>
                    <a:pt x="374" y="567"/>
                    <a:pt x="379" y="567"/>
                    <a:pt x="383" y="567"/>
                  </a:cubicBezTo>
                  <a:cubicBezTo>
                    <a:pt x="382" y="565"/>
                    <a:pt x="382" y="565"/>
                    <a:pt x="382" y="565"/>
                  </a:cubicBezTo>
                  <a:cubicBezTo>
                    <a:pt x="420" y="563"/>
                    <a:pt x="459" y="553"/>
                    <a:pt x="494" y="533"/>
                  </a:cubicBezTo>
                  <a:cubicBezTo>
                    <a:pt x="515" y="521"/>
                    <a:pt x="534" y="506"/>
                    <a:pt x="552" y="488"/>
                  </a:cubicBezTo>
                  <a:cubicBezTo>
                    <a:pt x="604" y="436"/>
                    <a:pt x="639" y="363"/>
                    <a:pt x="646" y="289"/>
                  </a:cubicBezTo>
                  <a:cubicBezTo>
                    <a:pt x="646" y="281"/>
                    <a:pt x="643" y="273"/>
                    <a:pt x="636" y="2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5" name="Freeform 37">
              <a:extLst>
                <a:ext uri="{FF2B5EF4-FFF2-40B4-BE49-F238E27FC236}">
                  <a16:creationId xmlns:a16="http://schemas.microsoft.com/office/drawing/2014/main" id="{3B6A4F78-1280-BB4F-B5AF-152EF79B185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6138" y="2825751"/>
              <a:ext cx="481013" cy="481013"/>
            </a:xfrm>
            <a:custGeom>
              <a:avLst/>
              <a:gdLst>
                <a:gd name="T0" fmla="*/ 248 w 695"/>
                <a:gd name="T1" fmla="*/ 695 h 695"/>
                <a:gd name="T2" fmla="*/ 279 w 695"/>
                <a:gd name="T3" fmla="*/ 682 h 695"/>
                <a:gd name="T4" fmla="*/ 682 w 695"/>
                <a:gd name="T5" fmla="*/ 279 h 695"/>
                <a:gd name="T6" fmla="*/ 695 w 695"/>
                <a:gd name="T7" fmla="*/ 248 h 695"/>
                <a:gd name="T8" fmla="*/ 682 w 695"/>
                <a:gd name="T9" fmla="*/ 218 h 695"/>
                <a:gd name="T10" fmla="*/ 477 w 695"/>
                <a:gd name="T11" fmla="*/ 12 h 695"/>
                <a:gd name="T12" fmla="*/ 446 w 695"/>
                <a:gd name="T13" fmla="*/ 0 h 695"/>
                <a:gd name="T14" fmla="*/ 416 w 695"/>
                <a:gd name="T15" fmla="*/ 12 h 695"/>
                <a:gd name="T16" fmla="*/ 12 w 695"/>
                <a:gd name="T17" fmla="*/ 416 h 695"/>
                <a:gd name="T18" fmla="*/ 0 w 695"/>
                <a:gd name="T19" fmla="*/ 446 h 695"/>
                <a:gd name="T20" fmla="*/ 12 w 695"/>
                <a:gd name="T21" fmla="*/ 477 h 695"/>
                <a:gd name="T22" fmla="*/ 218 w 695"/>
                <a:gd name="T23" fmla="*/ 682 h 695"/>
                <a:gd name="T24" fmla="*/ 248 w 695"/>
                <a:gd name="T25" fmla="*/ 695 h 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95" h="695">
                  <a:moveTo>
                    <a:pt x="248" y="695"/>
                  </a:moveTo>
                  <a:cubicBezTo>
                    <a:pt x="260" y="695"/>
                    <a:pt x="271" y="690"/>
                    <a:pt x="279" y="682"/>
                  </a:cubicBezTo>
                  <a:cubicBezTo>
                    <a:pt x="682" y="279"/>
                    <a:pt x="682" y="279"/>
                    <a:pt x="682" y="279"/>
                  </a:cubicBezTo>
                  <a:cubicBezTo>
                    <a:pt x="690" y="271"/>
                    <a:pt x="695" y="260"/>
                    <a:pt x="695" y="248"/>
                  </a:cubicBezTo>
                  <a:cubicBezTo>
                    <a:pt x="695" y="237"/>
                    <a:pt x="690" y="226"/>
                    <a:pt x="682" y="218"/>
                  </a:cubicBezTo>
                  <a:cubicBezTo>
                    <a:pt x="477" y="12"/>
                    <a:pt x="477" y="12"/>
                    <a:pt x="477" y="12"/>
                  </a:cubicBezTo>
                  <a:cubicBezTo>
                    <a:pt x="469" y="4"/>
                    <a:pt x="458" y="0"/>
                    <a:pt x="446" y="0"/>
                  </a:cubicBezTo>
                  <a:cubicBezTo>
                    <a:pt x="435" y="0"/>
                    <a:pt x="424" y="4"/>
                    <a:pt x="416" y="12"/>
                  </a:cubicBezTo>
                  <a:cubicBezTo>
                    <a:pt x="12" y="416"/>
                    <a:pt x="12" y="416"/>
                    <a:pt x="12" y="416"/>
                  </a:cubicBezTo>
                  <a:cubicBezTo>
                    <a:pt x="4" y="424"/>
                    <a:pt x="0" y="435"/>
                    <a:pt x="0" y="446"/>
                  </a:cubicBezTo>
                  <a:cubicBezTo>
                    <a:pt x="0" y="458"/>
                    <a:pt x="4" y="469"/>
                    <a:pt x="12" y="477"/>
                  </a:cubicBezTo>
                  <a:cubicBezTo>
                    <a:pt x="218" y="682"/>
                    <a:pt x="218" y="682"/>
                    <a:pt x="218" y="682"/>
                  </a:cubicBezTo>
                  <a:cubicBezTo>
                    <a:pt x="226" y="690"/>
                    <a:pt x="237" y="695"/>
                    <a:pt x="248" y="6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</p:grpSp>
    </p:spTree>
    <p:extLst>
      <p:ext uri="{BB962C8B-B14F-4D97-AF65-F5344CB8AC3E}">
        <p14:creationId xmlns:p14="http://schemas.microsoft.com/office/powerpoint/2010/main" val="35021758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7B7FF85-0869-3348-90FD-BF53A24A27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Genetic</a:t>
            </a:r>
            <a:r>
              <a:rPr kumimoji="1" lang="zh-CN" altLang="en-US" dirty="0"/>
              <a:t> </a:t>
            </a:r>
            <a:r>
              <a:rPr kumimoji="1" lang="en-US" altLang="zh-CN" dirty="0"/>
              <a:t>Algorithm</a:t>
            </a:r>
            <a:endParaRPr kumimoji="1" lang="zh-CN" altLang="en-US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2CA5C5E7-86B9-F54B-9609-83B62B9C345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2682" y="1883474"/>
            <a:ext cx="7150100" cy="3352800"/>
          </a:xfrm>
          <a:prstGeom prst="rect">
            <a:avLst/>
          </a:prstGeom>
        </p:spPr>
      </p:pic>
      <p:sp>
        <p:nvSpPr>
          <p:cNvPr id="7" name="Rectangle 35">
            <a:extLst>
              <a:ext uri="{FF2B5EF4-FFF2-40B4-BE49-F238E27FC236}">
                <a16:creationId xmlns:a16="http://schemas.microsoft.com/office/drawing/2014/main" id="{AE0D8852-237F-B84C-86D6-10E1A0BEE944}"/>
              </a:ext>
            </a:extLst>
          </p:cNvPr>
          <p:cNvSpPr/>
          <p:nvPr/>
        </p:nvSpPr>
        <p:spPr>
          <a:xfrm>
            <a:off x="4661883" y="1449253"/>
            <a:ext cx="7363861" cy="4039632"/>
          </a:xfrm>
          <a:prstGeom prst="rect">
            <a:avLst/>
          </a:prstGeom>
          <a:noFill/>
          <a:ln w="12700"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dirty="0">
              <a:latin typeface="+mn-ea"/>
            </a:endParaRPr>
          </a:p>
        </p:txBody>
      </p:sp>
      <p:sp>
        <p:nvSpPr>
          <p:cNvPr id="8" name="TextBox 41">
            <a:extLst>
              <a:ext uri="{FF2B5EF4-FFF2-40B4-BE49-F238E27FC236}">
                <a16:creationId xmlns:a16="http://schemas.microsoft.com/office/drawing/2014/main" id="{AFFA8D98-E4E6-CF48-88AC-988C56A7B327}"/>
              </a:ext>
            </a:extLst>
          </p:cNvPr>
          <p:cNvSpPr txBox="1"/>
          <p:nvPr/>
        </p:nvSpPr>
        <p:spPr>
          <a:xfrm>
            <a:off x="6392014" y="1321792"/>
            <a:ext cx="3417002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marL="144000" indent="-144000">
              <a:buFont typeface="Arial" panose="020B0604020202020204" pitchFamily="34" charset="0"/>
              <a:buChar char="•"/>
              <a:defRPr sz="1400"/>
            </a:lvl1pPr>
          </a:lstStyle>
          <a:p>
            <a:pPr marL="0" indent="0" algn="ctr">
              <a:buNone/>
            </a:pPr>
            <a:r>
              <a:rPr lang="en-US" altLang="zh-CN" sz="1800" dirty="0">
                <a:latin typeface="+mn-ea"/>
                <a:ea typeface="+mn-ea"/>
              </a:rPr>
              <a:t>Method</a:t>
            </a:r>
            <a:r>
              <a:rPr lang="en-US" altLang="zh-CN" sz="1800" dirty="0">
                <a:latin typeface="+mn-ea"/>
              </a:rPr>
              <a:t>:</a:t>
            </a:r>
            <a:r>
              <a:rPr lang="zh-CN" altLang="en-US" sz="1800" dirty="0">
                <a:latin typeface="+mn-ea"/>
              </a:rPr>
              <a:t> </a:t>
            </a:r>
            <a:r>
              <a:rPr lang="en-US" altLang="zh-CN" sz="1800" dirty="0">
                <a:latin typeface="+mn-ea"/>
              </a:rPr>
              <a:t>Tournament selection</a:t>
            </a:r>
            <a:r>
              <a:rPr lang="zh-CN" altLang="en-US" sz="1800" dirty="0">
                <a:latin typeface="+mn-ea"/>
                <a:ea typeface="+mn-ea"/>
              </a:rPr>
              <a:t> 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B26862B6-AA30-E541-8EF3-6675A4C41423}"/>
              </a:ext>
            </a:extLst>
          </p:cNvPr>
          <p:cNvSpPr/>
          <p:nvPr/>
        </p:nvSpPr>
        <p:spPr>
          <a:xfrm>
            <a:off x="291817" y="1192074"/>
            <a:ext cx="4237103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itchFamily="2" charset="2"/>
              <a:buChar char="Ø"/>
            </a:pPr>
            <a:r>
              <a:rPr kumimoji="1" lang="en" altLang="zh-CN" sz="2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urnament selection</a:t>
            </a:r>
          </a:p>
          <a:p>
            <a:pPr marL="285750" indent="-285750" algn="just">
              <a:buFont typeface="Wingdings" pitchFamily="2" charset="2"/>
              <a:buChar char="Ø"/>
            </a:pPr>
            <a:endParaRPr kumimoji="1" lang="en" altLang="zh-CN" sz="200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 algn="just">
              <a:buFont typeface="Wingdings" pitchFamily="2" charset="2"/>
              <a:buChar char="Ø"/>
            </a:pPr>
            <a:r>
              <a:rPr kumimoji="1" lang="en" altLang="zh-CN" sz="2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andomly choose a group of T individuals from the population</a:t>
            </a:r>
          </a:p>
          <a:p>
            <a:pPr marL="742950" lvl="1" indent="-285750" algn="just">
              <a:buFont typeface="Wingdings" pitchFamily="2" charset="2"/>
              <a:buChar char="Ø"/>
            </a:pPr>
            <a:endParaRPr kumimoji="1" lang="en" altLang="zh-CN" sz="200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 algn="just">
              <a:buFont typeface="Wingdings" pitchFamily="2" charset="2"/>
              <a:buChar char="Ø"/>
            </a:pPr>
            <a:r>
              <a:rPr kumimoji="1" lang="en" altLang="zh-CN" sz="2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lect the best one.</a:t>
            </a:r>
          </a:p>
          <a:p>
            <a:pPr marL="285750" indent="-285750" algn="just">
              <a:buFont typeface="Wingdings" pitchFamily="2" charset="2"/>
              <a:buChar char="Ø"/>
            </a:pPr>
            <a:endParaRPr kumimoji="1" lang="en" altLang="zh-CN" sz="200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0" name="Group 5">
            <a:extLst>
              <a:ext uri="{FF2B5EF4-FFF2-40B4-BE49-F238E27FC236}">
                <a16:creationId xmlns:a16="http://schemas.microsoft.com/office/drawing/2014/main" id="{3881AEFE-A48F-8A4D-B710-4CE9C4CAF14B}"/>
              </a:ext>
            </a:extLst>
          </p:cNvPr>
          <p:cNvGrpSpPr/>
          <p:nvPr/>
        </p:nvGrpSpPr>
        <p:grpSpPr>
          <a:xfrm>
            <a:off x="2012938" y="3237562"/>
            <a:ext cx="752745" cy="710571"/>
            <a:chOff x="5684825" y="3309000"/>
            <a:chExt cx="752745" cy="710571"/>
          </a:xfrm>
        </p:grpSpPr>
        <p:sp>
          <p:nvSpPr>
            <p:cNvPr id="11" name="Rectangle 311">
              <a:extLst>
                <a:ext uri="{FF2B5EF4-FFF2-40B4-BE49-F238E27FC236}">
                  <a16:creationId xmlns:a16="http://schemas.microsoft.com/office/drawing/2014/main" id="{23211684-A44B-934C-861F-D49D8B72AF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84825" y="3716088"/>
              <a:ext cx="173287" cy="29889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312">
              <a:extLst>
                <a:ext uri="{FF2B5EF4-FFF2-40B4-BE49-F238E27FC236}">
                  <a16:creationId xmlns:a16="http://schemas.microsoft.com/office/drawing/2014/main" id="{B892DA9E-62B9-2942-8A2F-232E83EF1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4825" y="3672996"/>
              <a:ext cx="173287" cy="43093"/>
            </a:xfrm>
            <a:custGeom>
              <a:avLst/>
              <a:gdLst>
                <a:gd name="T0" fmla="*/ 162 w 189"/>
                <a:gd name="T1" fmla="*/ 0 h 47"/>
                <a:gd name="T2" fmla="*/ 28 w 189"/>
                <a:gd name="T3" fmla="*/ 0 h 47"/>
                <a:gd name="T4" fmla="*/ 0 w 189"/>
                <a:gd name="T5" fmla="*/ 47 h 47"/>
                <a:gd name="T6" fmla="*/ 189 w 189"/>
                <a:gd name="T7" fmla="*/ 47 h 47"/>
                <a:gd name="T8" fmla="*/ 162 w 189"/>
                <a:gd name="T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47">
                  <a:moveTo>
                    <a:pt x="162" y="0"/>
                  </a:moveTo>
                  <a:lnTo>
                    <a:pt x="28" y="0"/>
                  </a:lnTo>
                  <a:lnTo>
                    <a:pt x="0" y="47"/>
                  </a:lnTo>
                  <a:lnTo>
                    <a:pt x="189" y="47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Rectangle 313">
              <a:extLst>
                <a:ext uri="{FF2B5EF4-FFF2-40B4-BE49-F238E27FC236}">
                  <a16:creationId xmlns:a16="http://schemas.microsoft.com/office/drawing/2014/main" id="{47A17060-1743-0240-A539-E848DBBEE8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74615" y="3587727"/>
              <a:ext cx="174204" cy="428176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314">
              <a:extLst>
                <a:ext uri="{FF2B5EF4-FFF2-40B4-BE49-F238E27FC236}">
                  <a16:creationId xmlns:a16="http://schemas.microsoft.com/office/drawing/2014/main" id="{162CCDBE-534E-D143-AAB5-03A3025167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4615" y="3543718"/>
              <a:ext cx="174204" cy="44009"/>
            </a:xfrm>
            <a:custGeom>
              <a:avLst/>
              <a:gdLst>
                <a:gd name="T0" fmla="*/ 164 w 190"/>
                <a:gd name="T1" fmla="*/ 2 h 48"/>
                <a:gd name="T2" fmla="*/ 28 w 190"/>
                <a:gd name="T3" fmla="*/ 0 h 48"/>
                <a:gd name="T4" fmla="*/ 0 w 190"/>
                <a:gd name="T5" fmla="*/ 48 h 48"/>
                <a:gd name="T6" fmla="*/ 190 w 190"/>
                <a:gd name="T7" fmla="*/ 48 h 48"/>
                <a:gd name="T8" fmla="*/ 164 w 190"/>
                <a:gd name="T9" fmla="*/ 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48">
                  <a:moveTo>
                    <a:pt x="164" y="2"/>
                  </a:moveTo>
                  <a:lnTo>
                    <a:pt x="28" y="0"/>
                  </a:lnTo>
                  <a:lnTo>
                    <a:pt x="0" y="48"/>
                  </a:lnTo>
                  <a:lnTo>
                    <a:pt x="190" y="48"/>
                  </a:lnTo>
                  <a:lnTo>
                    <a:pt x="164" y="2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315">
              <a:extLst>
                <a:ext uri="{FF2B5EF4-FFF2-40B4-BE49-F238E27FC236}">
                  <a16:creationId xmlns:a16="http://schemas.microsoft.com/office/drawing/2014/main" id="{D4441B4A-5847-434B-B0F4-17F5DA3BED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68074" y="3352094"/>
              <a:ext cx="174204" cy="66747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316">
              <a:extLst>
                <a:ext uri="{FF2B5EF4-FFF2-40B4-BE49-F238E27FC236}">
                  <a16:creationId xmlns:a16="http://schemas.microsoft.com/office/drawing/2014/main" id="{985184A9-165C-E242-9D82-DDB2FADF73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8074" y="3309000"/>
              <a:ext cx="174204" cy="43093"/>
            </a:xfrm>
            <a:custGeom>
              <a:avLst/>
              <a:gdLst>
                <a:gd name="T0" fmla="*/ 164 w 190"/>
                <a:gd name="T1" fmla="*/ 0 h 47"/>
                <a:gd name="T2" fmla="*/ 28 w 190"/>
                <a:gd name="T3" fmla="*/ 0 h 47"/>
                <a:gd name="T4" fmla="*/ 0 w 190"/>
                <a:gd name="T5" fmla="*/ 47 h 47"/>
                <a:gd name="T6" fmla="*/ 190 w 190"/>
                <a:gd name="T7" fmla="*/ 47 h 47"/>
                <a:gd name="T8" fmla="*/ 164 w 190"/>
                <a:gd name="T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47">
                  <a:moveTo>
                    <a:pt x="164" y="0"/>
                  </a:moveTo>
                  <a:lnTo>
                    <a:pt x="28" y="0"/>
                  </a:lnTo>
                  <a:lnTo>
                    <a:pt x="0" y="47"/>
                  </a:lnTo>
                  <a:lnTo>
                    <a:pt x="190" y="47"/>
                  </a:lnTo>
                  <a:lnTo>
                    <a:pt x="164" y="0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Rectangle 317">
              <a:extLst>
                <a:ext uri="{FF2B5EF4-FFF2-40B4-BE49-F238E27FC236}">
                  <a16:creationId xmlns:a16="http://schemas.microsoft.com/office/drawing/2014/main" id="{4EC6C99B-1D08-A84C-9CD6-83AD027DD8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63366" y="3470368"/>
              <a:ext cx="174204" cy="54920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318">
              <a:extLst>
                <a:ext uri="{FF2B5EF4-FFF2-40B4-BE49-F238E27FC236}">
                  <a16:creationId xmlns:a16="http://schemas.microsoft.com/office/drawing/2014/main" id="{C37ADA5A-2F61-9549-AD61-4982C4561E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3366" y="3427276"/>
              <a:ext cx="174204" cy="43093"/>
            </a:xfrm>
            <a:custGeom>
              <a:avLst/>
              <a:gdLst>
                <a:gd name="T0" fmla="*/ 163 w 190"/>
                <a:gd name="T1" fmla="*/ 1 h 47"/>
                <a:gd name="T2" fmla="*/ 28 w 190"/>
                <a:gd name="T3" fmla="*/ 0 h 47"/>
                <a:gd name="T4" fmla="*/ 0 w 190"/>
                <a:gd name="T5" fmla="*/ 47 h 47"/>
                <a:gd name="T6" fmla="*/ 190 w 190"/>
                <a:gd name="T7" fmla="*/ 47 h 47"/>
                <a:gd name="T8" fmla="*/ 163 w 190"/>
                <a:gd name="T9" fmla="*/ 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47">
                  <a:moveTo>
                    <a:pt x="163" y="1"/>
                  </a:moveTo>
                  <a:lnTo>
                    <a:pt x="28" y="0"/>
                  </a:lnTo>
                  <a:lnTo>
                    <a:pt x="0" y="47"/>
                  </a:lnTo>
                  <a:lnTo>
                    <a:pt x="190" y="47"/>
                  </a:lnTo>
                  <a:lnTo>
                    <a:pt x="163" y="1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9" name="Freeform 323">
            <a:extLst>
              <a:ext uri="{FF2B5EF4-FFF2-40B4-BE49-F238E27FC236}">
                <a16:creationId xmlns:a16="http://schemas.microsoft.com/office/drawing/2014/main" id="{0BADD5FC-ABA3-2540-A2C9-728F4C7F0E86}"/>
              </a:ext>
            </a:extLst>
          </p:cNvPr>
          <p:cNvSpPr>
            <a:spLocks/>
          </p:cNvSpPr>
          <p:nvPr/>
        </p:nvSpPr>
        <p:spPr bwMode="auto">
          <a:xfrm>
            <a:off x="3468000" y="3938964"/>
            <a:ext cx="422675" cy="403420"/>
          </a:xfrm>
          <a:custGeom>
            <a:avLst/>
            <a:gdLst>
              <a:gd name="T0" fmla="*/ 246 w 461"/>
              <a:gd name="T1" fmla="*/ 440 h 440"/>
              <a:gd name="T2" fmla="*/ 0 w 461"/>
              <a:gd name="T3" fmla="*/ 0 h 440"/>
              <a:gd name="T4" fmla="*/ 461 w 461"/>
              <a:gd name="T5" fmla="*/ 139 h 440"/>
              <a:gd name="T6" fmla="*/ 246 w 461"/>
              <a:gd name="T7" fmla="*/ 440 h 4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61" h="440">
                <a:moveTo>
                  <a:pt x="246" y="440"/>
                </a:moveTo>
                <a:lnTo>
                  <a:pt x="0" y="0"/>
                </a:lnTo>
                <a:lnTo>
                  <a:pt x="461" y="139"/>
                </a:lnTo>
                <a:lnTo>
                  <a:pt x="246" y="44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0" name="Group 15">
            <a:extLst>
              <a:ext uri="{FF2B5EF4-FFF2-40B4-BE49-F238E27FC236}">
                <a16:creationId xmlns:a16="http://schemas.microsoft.com/office/drawing/2014/main" id="{CFEB7EAD-63F9-EC40-9C28-0B4B04A217C3}"/>
              </a:ext>
            </a:extLst>
          </p:cNvPr>
          <p:cNvGrpSpPr/>
          <p:nvPr/>
        </p:nvGrpSpPr>
        <p:grpSpPr>
          <a:xfrm>
            <a:off x="998885" y="3578636"/>
            <a:ext cx="698651" cy="700484"/>
            <a:chOff x="4670772" y="3650074"/>
            <a:chExt cx="698651" cy="700484"/>
          </a:xfrm>
        </p:grpSpPr>
        <p:sp>
          <p:nvSpPr>
            <p:cNvPr id="21" name="Freeform 330">
              <a:extLst>
                <a:ext uri="{FF2B5EF4-FFF2-40B4-BE49-F238E27FC236}">
                  <a16:creationId xmlns:a16="http://schemas.microsoft.com/office/drawing/2014/main" id="{A8C44E70-0638-0A4A-A021-A16EFBEA5BA7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0772" y="3650074"/>
              <a:ext cx="698651" cy="700484"/>
            </a:xfrm>
            <a:custGeom>
              <a:avLst/>
              <a:gdLst>
                <a:gd name="T0" fmla="*/ 373 w 466"/>
                <a:gd name="T1" fmla="*/ 78 h 467"/>
                <a:gd name="T2" fmla="*/ 77 w 466"/>
                <a:gd name="T3" fmla="*/ 94 h 467"/>
                <a:gd name="T4" fmla="*/ 93 w 466"/>
                <a:gd name="T5" fmla="*/ 390 h 467"/>
                <a:gd name="T6" fmla="*/ 389 w 466"/>
                <a:gd name="T7" fmla="*/ 373 h 467"/>
                <a:gd name="T8" fmla="*/ 373 w 466"/>
                <a:gd name="T9" fmla="*/ 78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6" h="467">
                  <a:moveTo>
                    <a:pt x="373" y="78"/>
                  </a:moveTo>
                  <a:cubicBezTo>
                    <a:pt x="287" y="0"/>
                    <a:pt x="154" y="8"/>
                    <a:pt x="77" y="94"/>
                  </a:cubicBezTo>
                  <a:cubicBezTo>
                    <a:pt x="0" y="180"/>
                    <a:pt x="7" y="312"/>
                    <a:pt x="93" y="390"/>
                  </a:cubicBezTo>
                  <a:cubicBezTo>
                    <a:pt x="179" y="467"/>
                    <a:pt x="311" y="460"/>
                    <a:pt x="389" y="373"/>
                  </a:cubicBezTo>
                  <a:cubicBezTo>
                    <a:pt x="466" y="287"/>
                    <a:pt x="459" y="155"/>
                    <a:pt x="373" y="78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331">
              <a:extLst>
                <a:ext uri="{FF2B5EF4-FFF2-40B4-BE49-F238E27FC236}">
                  <a16:creationId xmlns:a16="http://schemas.microsoft.com/office/drawing/2014/main" id="{39019CD5-6EB3-3E48-83FE-CF8BE0DA68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84525" y="3665661"/>
              <a:ext cx="672063" cy="671145"/>
            </a:xfrm>
            <a:custGeom>
              <a:avLst/>
              <a:gdLst>
                <a:gd name="T0" fmla="*/ 74 w 448"/>
                <a:gd name="T1" fmla="*/ 89 h 448"/>
                <a:gd name="T2" fmla="*/ 374 w 448"/>
                <a:gd name="T3" fmla="*/ 358 h 448"/>
                <a:gd name="T4" fmla="*/ 357 w 448"/>
                <a:gd name="T5" fmla="*/ 333 h 448"/>
                <a:gd name="T6" fmla="*/ 347 w 448"/>
                <a:gd name="T7" fmla="*/ 213 h 448"/>
                <a:gd name="T8" fmla="*/ 357 w 448"/>
                <a:gd name="T9" fmla="*/ 333 h 448"/>
                <a:gd name="T10" fmla="*/ 337 w 448"/>
                <a:gd name="T11" fmla="*/ 192 h 448"/>
                <a:gd name="T12" fmla="*/ 340 w 448"/>
                <a:gd name="T13" fmla="*/ 105 h 448"/>
                <a:gd name="T14" fmla="*/ 396 w 448"/>
                <a:gd name="T15" fmla="*/ 210 h 448"/>
                <a:gd name="T16" fmla="*/ 358 w 448"/>
                <a:gd name="T17" fmla="*/ 114 h 448"/>
                <a:gd name="T18" fmla="*/ 326 w 448"/>
                <a:gd name="T19" fmla="*/ 95 h 448"/>
                <a:gd name="T20" fmla="*/ 279 w 448"/>
                <a:gd name="T21" fmla="*/ 150 h 448"/>
                <a:gd name="T22" fmla="*/ 284 w 448"/>
                <a:gd name="T23" fmla="*/ 96 h 448"/>
                <a:gd name="T24" fmla="*/ 218 w 448"/>
                <a:gd name="T25" fmla="*/ 51 h 448"/>
                <a:gd name="T26" fmla="*/ 235 w 448"/>
                <a:gd name="T27" fmla="*/ 94 h 448"/>
                <a:gd name="T28" fmla="*/ 223 w 448"/>
                <a:gd name="T29" fmla="*/ 213 h 448"/>
                <a:gd name="T30" fmla="*/ 229 w 448"/>
                <a:gd name="T31" fmla="*/ 114 h 448"/>
                <a:gd name="T32" fmla="*/ 213 w 448"/>
                <a:gd name="T33" fmla="*/ 224 h 448"/>
                <a:gd name="T34" fmla="*/ 115 w 448"/>
                <a:gd name="T35" fmla="*/ 241 h 448"/>
                <a:gd name="T36" fmla="*/ 213 w 448"/>
                <a:gd name="T37" fmla="*/ 224 h 448"/>
                <a:gd name="T38" fmla="*/ 107 w 448"/>
                <a:gd name="T39" fmla="*/ 342 h 448"/>
                <a:gd name="T40" fmla="*/ 157 w 448"/>
                <a:gd name="T41" fmla="*/ 287 h 448"/>
                <a:gd name="T42" fmla="*/ 52 w 448"/>
                <a:gd name="T43" fmla="*/ 237 h 448"/>
                <a:gd name="T44" fmla="*/ 90 w 448"/>
                <a:gd name="T45" fmla="*/ 333 h 448"/>
                <a:gd name="T46" fmla="*/ 121 w 448"/>
                <a:gd name="T47" fmla="*/ 353 h 448"/>
                <a:gd name="T48" fmla="*/ 169 w 448"/>
                <a:gd name="T49" fmla="*/ 297 h 448"/>
                <a:gd name="T50" fmla="*/ 164 w 448"/>
                <a:gd name="T51" fmla="*/ 351 h 448"/>
                <a:gd name="T52" fmla="*/ 229 w 448"/>
                <a:gd name="T53" fmla="*/ 396 h 448"/>
                <a:gd name="T54" fmla="*/ 212 w 448"/>
                <a:gd name="T55" fmla="*/ 353 h 448"/>
                <a:gd name="T56" fmla="*/ 224 w 448"/>
                <a:gd name="T57" fmla="*/ 235 h 448"/>
                <a:gd name="T58" fmla="*/ 218 w 448"/>
                <a:gd name="T59" fmla="*/ 333 h 448"/>
                <a:gd name="T60" fmla="*/ 235 w 448"/>
                <a:gd name="T61" fmla="*/ 223 h 448"/>
                <a:gd name="T62" fmla="*/ 332 w 448"/>
                <a:gd name="T63" fmla="*/ 206 h 448"/>
                <a:gd name="T64" fmla="*/ 235 w 448"/>
                <a:gd name="T65" fmla="*/ 223 h 448"/>
                <a:gd name="T66" fmla="*/ 221 w 448"/>
                <a:gd name="T67" fmla="*/ 100 h 448"/>
                <a:gd name="T68" fmla="*/ 100 w 448"/>
                <a:gd name="T69" fmla="*/ 103 h 448"/>
                <a:gd name="T70" fmla="*/ 90 w 448"/>
                <a:gd name="T71" fmla="*/ 114 h 448"/>
                <a:gd name="T72" fmla="*/ 101 w 448"/>
                <a:gd name="T73" fmla="*/ 235 h 448"/>
                <a:gd name="T74" fmla="*/ 90 w 448"/>
                <a:gd name="T75" fmla="*/ 114 h 448"/>
                <a:gd name="T76" fmla="*/ 226 w 448"/>
                <a:gd name="T77" fmla="*/ 347 h 448"/>
                <a:gd name="T78" fmla="*/ 347 w 448"/>
                <a:gd name="T79" fmla="*/ 345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48" h="448">
                  <a:moveTo>
                    <a:pt x="358" y="74"/>
                  </a:moveTo>
                  <a:cubicBezTo>
                    <a:pt x="275" y="0"/>
                    <a:pt x="148" y="7"/>
                    <a:pt x="74" y="89"/>
                  </a:cubicBezTo>
                  <a:cubicBezTo>
                    <a:pt x="0" y="172"/>
                    <a:pt x="7" y="299"/>
                    <a:pt x="89" y="373"/>
                  </a:cubicBezTo>
                  <a:cubicBezTo>
                    <a:pt x="172" y="448"/>
                    <a:pt x="299" y="441"/>
                    <a:pt x="374" y="358"/>
                  </a:cubicBezTo>
                  <a:cubicBezTo>
                    <a:pt x="448" y="275"/>
                    <a:pt x="441" y="148"/>
                    <a:pt x="358" y="74"/>
                  </a:cubicBezTo>
                  <a:close/>
                  <a:moveTo>
                    <a:pt x="357" y="333"/>
                  </a:moveTo>
                  <a:cubicBezTo>
                    <a:pt x="304" y="285"/>
                    <a:pt x="304" y="285"/>
                    <a:pt x="304" y="285"/>
                  </a:cubicBezTo>
                  <a:cubicBezTo>
                    <a:pt x="325" y="260"/>
                    <a:pt x="338" y="236"/>
                    <a:pt x="347" y="213"/>
                  </a:cubicBezTo>
                  <a:cubicBezTo>
                    <a:pt x="364" y="220"/>
                    <a:pt x="381" y="224"/>
                    <a:pt x="397" y="226"/>
                  </a:cubicBezTo>
                  <a:cubicBezTo>
                    <a:pt x="396" y="264"/>
                    <a:pt x="383" y="302"/>
                    <a:pt x="357" y="333"/>
                  </a:cubicBezTo>
                  <a:close/>
                  <a:moveTo>
                    <a:pt x="340" y="105"/>
                  </a:moveTo>
                  <a:cubicBezTo>
                    <a:pt x="344" y="122"/>
                    <a:pt x="347" y="154"/>
                    <a:pt x="337" y="192"/>
                  </a:cubicBezTo>
                  <a:cubicBezTo>
                    <a:pt x="322" y="184"/>
                    <a:pt x="306" y="174"/>
                    <a:pt x="291" y="161"/>
                  </a:cubicBezTo>
                  <a:lnTo>
                    <a:pt x="340" y="105"/>
                  </a:lnTo>
                  <a:close/>
                  <a:moveTo>
                    <a:pt x="358" y="114"/>
                  </a:moveTo>
                  <a:cubicBezTo>
                    <a:pt x="381" y="142"/>
                    <a:pt x="393" y="176"/>
                    <a:pt x="396" y="210"/>
                  </a:cubicBezTo>
                  <a:cubicBezTo>
                    <a:pt x="382" y="208"/>
                    <a:pt x="367" y="204"/>
                    <a:pt x="351" y="198"/>
                  </a:cubicBezTo>
                  <a:cubicBezTo>
                    <a:pt x="361" y="164"/>
                    <a:pt x="360" y="135"/>
                    <a:pt x="358" y="114"/>
                  </a:cubicBezTo>
                  <a:close/>
                  <a:moveTo>
                    <a:pt x="284" y="96"/>
                  </a:moveTo>
                  <a:cubicBezTo>
                    <a:pt x="301" y="94"/>
                    <a:pt x="316" y="94"/>
                    <a:pt x="326" y="95"/>
                  </a:cubicBezTo>
                  <a:cubicBezTo>
                    <a:pt x="327" y="95"/>
                    <a:pt x="328" y="95"/>
                    <a:pt x="329" y="95"/>
                  </a:cubicBezTo>
                  <a:cubicBezTo>
                    <a:pt x="279" y="150"/>
                    <a:pt x="279" y="150"/>
                    <a:pt x="279" y="150"/>
                  </a:cubicBezTo>
                  <a:cubicBezTo>
                    <a:pt x="264" y="136"/>
                    <a:pt x="253" y="122"/>
                    <a:pt x="243" y="108"/>
                  </a:cubicBezTo>
                  <a:cubicBezTo>
                    <a:pt x="258" y="102"/>
                    <a:pt x="271" y="98"/>
                    <a:pt x="284" y="96"/>
                  </a:cubicBezTo>
                  <a:close/>
                  <a:moveTo>
                    <a:pt x="235" y="94"/>
                  </a:moveTo>
                  <a:cubicBezTo>
                    <a:pt x="227" y="79"/>
                    <a:pt x="222" y="65"/>
                    <a:pt x="218" y="51"/>
                  </a:cubicBezTo>
                  <a:cubicBezTo>
                    <a:pt x="253" y="50"/>
                    <a:pt x="288" y="59"/>
                    <a:pt x="318" y="79"/>
                  </a:cubicBezTo>
                  <a:cubicBezTo>
                    <a:pt x="298" y="78"/>
                    <a:pt x="268" y="81"/>
                    <a:pt x="235" y="94"/>
                  </a:cubicBezTo>
                  <a:close/>
                  <a:moveTo>
                    <a:pt x="269" y="162"/>
                  </a:moveTo>
                  <a:cubicBezTo>
                    <a:pt x="223" y="213"/>
                    <a:pt x="223" y="213"/>
                    <a:pt x="223" y="213"/>
                  </a:cubicBezTo>
                  <a:cubicBezTo>
                    <a:pt x="166" y="161"/>
                    <a:pt x="166" y="161"/>
                    <a:pt x="166" y="161"/>
                  </a:cubicBezTo>
                  <a:cubicBezTo>
                    <a:pt x="187" y="139"/>
                    <a:pt x="208" y="124"/>
                    <a:pt x="229" y="114"/>
                  </a:cubicBezTo>
                  <a:cubicBezTo>
                    <a:pt x="239" y="130"/>
                    <a:pt x="252" y="146"/>
                    <a:pt x="269" y="162"/>
                  </a:cubicBezTo>
                  <a:close/>
                  <a:moveTo>
                    <a:pt x="213" y="224"/>
                  </a:moveTo>
                  <a:cubicBezTo>
                    <a:pt x="167" y="275"/>
                    <a:pt x="167" y="275"/>
                    <a:pt x="167" y="275"/>
                  </a:cubicBezTo>
                  <a:cubicBezTo>
                    <a:pt x="150" y="260"/>
                    <a:pt x="132" y="249"/>
                    <a:pt x="115" y="241"/>
                  </a:cubicBezTo>
                  <a:cubicBezTo>
                    <a:pt x="123" y="219"/>
                    <a:pt x="136" y="196"/>
                    <a:pt x="155" y="173"/>
                  </a:cubicBezTo>
                  <a:lnTo>
                    <a:pt x="213" y="224"/>
                  </a:lnTo>
                  <a:close/>
                  <a:moveTo>
                    <a:pt x="157" y="287"/>
                  </a:moveTo>
                  <a:cubicBezTo>
                    <a:pt x="107" y="342"/>
                    <a:pt x="107" y="342"/>
                    <a:pt x="107" y="342"/>
                  </a:cubicBezTo>
                  <a:cubicBezTo>
                    <a:pt x="104" y="325"/>
                    <a:pt x="100" y="294"/>
                    <a:pt x="111" y="256"/>
                  </a:cubicBezTo>
                  <a:cubicBezTo>
                    <a:pt x="126" y="263"/>
                    <a:pt x="141" y="273"/>
                    <a:pt x="157" y="287"/>
                  </a:cubicBezTo>
                  <a:close/>
                  <a:moveTo>
                    <a:pt x="90" y="333"/>
                  </a:moveTo>
                  <a:cubicBezTo>
                    <a:pt x="67" y="305"/>
                    <a:pt x="54" y="271"/>
                    <a:pt x="52" y="237"/>
                  </a:cubicBezTo>
                  <a:cubicBezTo>
                    <a:pt x="65" y="239"/>
                    <a:pt x="81" y="243"/>
                    <a:pt x="96" y="249"/>
                  </a:cubicBezTo>
                  <a:cubicBezTo>
                    <a:pt x="87" y="283"/>
                    <a:pt x="87" y="313"/>
                    <a:pt x="90" y="333"/>
                  </a:cubicBezTo>
                  <a:close/>
                  <a:moveTo>
                    <a:pt x="164" y="351"/>
                  </a:moveTo>
                  <a:cubicBezTo>
                    <a:pt x="147" y="354"/>
                    <a:pt x="132" y="353"/>
                    <a:pt x="121" y="353"/>
                  </a:cubicBezTo>
                  <a:cubicBezTo>
                    <a:pt x="120" y="353"/>
                    <a:pt x="119" y="353"/>
                    <a:pt x="119" y="352"/>
                  </a:cubicBezTo>
                  <a:cubicBezTo>
                    <a:pt x="169" y="297"/>
                    <a:pt x="169" y="297"/>
                    <a:pt x="169" y="297"/>
                  </a:cubicBezTo>
                  <a:cubicBezTo>
                    <a:pt x="183" y="311"/>
                    <a:pt x="195" y="325"/>
                    <a:pt x="204" y="340"/>
                  </a:cubicBezTo>
                  <a:cubicBezTo>
                    <a:pt x="190" y="345"/>
                    <a:pt x="176" y="349"/>
                    <a:pt x="164" y="351"/>
                  </a:cubicBezTo>
                  <a:close/>
                  <a:moveTo>
                    <a:pt x="212" y="353"/>
                  </a:moveTo>
                  <a:cubicBezTo>
                    <a:pt x="220" y="368"/>
                    <a:pt x="226" y="383"/>
                    <a:pt x="229" y="396"/>
                  </a:cubicBezTo>
                  <a:cubicBezTo>
                    <a:pt x="195" y="397"/>
                    <a:pt x="160" y="388"/>
                    <a:pt x="130" y="369"/>
                  </a:cubicBezTo>
                  <a:cubicBezTo>
                    <a:pt x="150" y="369"/>
                    <a:pt x="180" y="366"/>
                    <a:pt x="212" y="353"/>
                  </a:cubicBezTo>
                  <a:close/>
                  <a:moveTo>
                    <a:pt x="179" y="285"/>
                  </a:moveTo>
                  <a:cubicBezTo>
                    <a:pt x="224" y="235"/>
                    <a:pt x="224" y="235"/>
                    <a:pt x="224" y="235"/>
                  </a:cubicBezTo>
                  <a:cubicBezTo>
                    <a:pt x="282" y="286"/>
                    <a:pt x="282" y="286"/>
                    <a:pt x="282" y="286"/>
                  </a:cubicBezTo>
                  <a:cubicBezTo>
                    <a:pt x="261" y="308"/>
                    <a:pt x="239" y="323"/>
                    <a:pt x="218" y="333"/>
                  </a:cubicBezTo>
                  <a:cubicBezTo>
                    <a:pt x="208" y="317"/>
                    <a:pt x="195" y="301"/>
                    <a:pt x="179" y="285"/>
                  </a:cubicBezTo>
                  <a:close/>
                  <a:moveTo>
                    <a:pt x="235" y="223"/>
                  </a:moveTo>
                  <a:cubicBezTo>
                    <a:pt x="280" y="172"/>
                    <a:pt x="280" y="172"/>
                    <a:pt x="280" y="172"/>
                  </a:cubicBezTo>
                  <a:cubicBezTo>
                    <a:pt x="298" y="187"/>
                    <a:pt x="315" y="198"/>
                    <a:pt x="332" y="206"/>
                  </a:cubicBezTo>
                  <a:cubicBezTo>
                    <a:pt x="325" y="228"/>
                    <a:pt x="312" y="251"/>
                    <a:pt x="292" y="275"/>
                  </a:cubicBezTo>
                  <a:lnTo>
                    <a:pt x="235" y="223"/>
                  </a:lnTo>
                  <a:close/>
                  <a:moveTo>
                    <a:pt x="203" y="52"/>
                  </a:moveTo>
                  <a:cubicBezTo>
                    <a:pt x="207" y="67"/>
                    <a:pt x="212" y="84"/>
                    <a:pt x="221" y="100"/>
                  </a:cubicBezTo>
                  <a:cubicBezTo>
                    <a:pt x="199" y="111"/>
                    <a:pt x="176" y="127"/>
                    <a:pt x="154" y="151"/>
                  </a:cubicBezTo>
                  <a:cubicBezTo>
                    <a:pt x="100" y="103"/>
                    <a:pt x="100" y="103"/>
                    <a:pt x="100" y="103"/>
                  </a:cubicBezTo>
                  <a:cubicBezTo>
                    <a:pt x="129" y="74"/>
                    <a:pt x="165" y="57"/>
                    <a:pt x="203" y="52"/>
                  </a:cubicBezTo>
                  <a:close/>
                  <a:moveTo>
                    <a:pt x="90" y="114"/>
                  </a:moveTo>
                  <a:cubicBezTo>
                    <a:pt x="144" y="162"/>
                    <a:pt x="144" y="162"/>
                    <a:pt x="144" y="162"/>
                  </a:cubicBezTo>
                  <a:cubicBezTo>
                    <a:pt x="123" y="187"/>
                    <a:pt x="110" y="211"/>
                    <a:pt x="101" y="235"/>
                  </a:cubicBezTo>
                  <a:cubicBezTo>
                    <a:pt x="83" y="228"/>
                    <a:pt x="67" y="223"/>
                    <a:pt x="51" y="221"/>
                  </a:cubicBezTo>
                  <a:cubicBezTo>
                    <a:pt x="52" y="183"/>
                    <a:pt x="64" y="145"/>
                    <a:pt x="90" y="114"/>
                  </a:cubicBezTo>
                  <a:close/>
                  <a:moveTo>
                    <a:pt x="245" y="395"/>
                  </a:moveTo>
                  <a:cubicBezTo>
                    <a:pt x="241" y="380"/>
                    <a:pt x="235" y="364"/>
                    <a:pt x="226" y="347"/>
                  </a:cubicBezTo>
                  <a:cubicBezTo>
                    <a:pt x="248" y="336"/>
                    <a:pt x="271" y="320"/>
                    <a:pt x="293" y="296"/>
                  </a:cubicBezTo>
                  <a:cubicBezTo>
                    <a:pt x="347" y="345"/>
                    <a:pt x="347" y="345"/>
                    <a:pt x="347" y="345"/>
                  </a:cubicBezTo>
                  <a:cubicBezTo>
                    <a:pt x="319" y="374"/>
                    <a:pt x="283" y="390"/>
                    <a:pt x="245" y="39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332">
              <a:extLst>
                <a:ext uri="{FF2B5EF4-FFF2-40B4-BE49-F238E27FC236}">
                  <a16:creationId xmlns:a16="http://schemas.microsoft.com/office/drawing/2014/main" id="{6C70DD46-93CB-0849-8FB1-CC9BD6513F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12029" y="3692250"/>
              <a:ext cx="617051" cy="616133"/>
            </a:xfrm>
            <a:custGeom>
              <a:avLst/>
              <a:gdLst>
                <a:gd name="T0" fmla="*/ 3 w 412"/>
                <a:gd name="T1" fmla="*/ 217 h 411"/>
                <a:gd name="T2" fmla="*/ 54 w 412"/>
                <a:gd name="T3" fmla="*/ 70 h 411"/>
                <a:gd name="T4" fmla="*/ 195 w 412"/>
                <a:gd name="T5" fmla="*/ 3 h 411"/>
                <a:gd name="T6" fmla="*/ 342 w 412"/>
                <a:gd name="T7" fmla="*/ 54 h 411"/>
                <a:gd name="T8" fmla="*/ 409 w 412"/>
                <a:gd name="T9" fmla="*/ 195 h 411"/>
                <a:gd name="T10" fmla="*/ 357 w 412"/>
                <a:gd name="T11" fmla="*/ 341 h 411"/>
                <a:gd name="T12" fmla="*/ 217 w 412"/>
                <a:gd name="T13" fmla="*/ 409 h 411"/>
                <a:gd name="T14" fmla="*/ 217 w 412"/>
                <a:gd name="T15" fmla="*/ 407 h 411"/>
                <a:gd name="T16" fmla="*/ 217 w 412"/>
                <a:gd name="T17" fmla="*/ 409 h 411"/>
                <a:gd name="T18" fmla="*/ 70 w 412"/>
                <a:gd name="T19" fmla="*/ 357 h 411"/>
                <a:gd name="T20" fmla="*/ 3 w 412"/>
                <a:gd name="T21" fmla="*/ 217 h 411"/>
                <a:gd name="T22" fmla="*/ 195 w 412"/>
                <a:gd name="T23" fmla="*/ 7 h 411"/>
                <a:gd name="T24" fmla="*/ 58 w 412"/>
                <a:gd name="T25" fmla="*/ 73 h 411"/>
                <a:gd name="T26" fmla="*/ 7 w 412"/>
                <a:gd name="T27" fmla="*/ 216 h 411"/>
                <a:gd name="T28" fmla="*/ 73 w 412"/>
                <a:gd name="T29" fmla="*/ 354 h 411"/>
                <a:gd name="T30" fmla="*/ 217 w 412"/>
                <a:gd name="T31" fmla="*/ 404 h 411"/>
                <a:gd name="T32" fmla="*/ 354 w 412"/>
                <a:gd name="T33" fmla="*/ 339 h 411"/>
                <a:gd name="T34" fmla="*/ 405 w 412"/>
                <a:gd name="T35" fmla="*/ 195 h 411"/>
                <a:gd name="T36" fmla="*/ 339 w 412"/>
                <a:gd name="T37" fmla="*/ 57 h 411"/>
                <a:gd name="T38" fmla="*/ 195 w 412"/>
                <a:gd name="T39" fmla="*/ 7 h 4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12" h="411">
                  <a:moveTo>
                    <a:pt x="3" y="217"/>
                  </a:moveTo>
                  <a:cubicBezTo>
                    <a:pt x="0" y="165"/>
                    <a:pt x="17" y="112"/>
                    <a:pt x="54" y="70"/>
                  </a:cubicBezTo>
                  <a:cubicBezTo>
                    <a:pt x="92" y="28"/>
                    <a:pt x="143" y="5"/>
                    <a:pt x="195" y="3"/>
                  </a:cubicBezTo>
                  <a:cubicBezTo>
                    <a:pt x="247" y="0"/>
                    <a:pt x="300" y="17"/>
                    <a:pt x="342" y="54"/>
                  </a:cubicBezTo>
                  <a:cubicBezTo>
                    <a:pt x="383" y="92"/>
                    <a:pt x="406" y="143"/>
                    <a:pt x="409" y="195"/>
                  </a:cubicBezTo>
                  <a:cubicBezTo>
                    <a:pt x="412" y="247"/>
                    <a:pt x="395" y="300"/>
                    <a:pt x="357" y="341"/>
                  </a:cubicBezTo>
                  <a:cubicBezTo>
                    <a:pt x="320" y="383"/>
                    <a:pt x="269" y="406"/>
                    <a:pt x="217" y="409"/>
                  </a:cubicBezTo>
                  <a:cubicBezTo>
                    <a:pt x="217" y="407"/>
                    <a:pt x="217" y="407"/>
                    <a:pt x="217" y="407"/>
                  </a:cubicBezTo>
                  <a:cubicBezTo>
                    <a:pt x="217" y="409"/>
                    <a:pt x="217" y="409"/>
                    <a:pt x="217" y="409"/>
                  </a:cubicBezTo>
                  <a:cubicBezTo>
                    <a:pt x="165" y="411"/>
                    <a:pt x="112" y="394"/>
                    <a:pt x="70" y="357"/>
                  </a:cubicBezTo>
                  <a:cubicBezTo>
                    <a:pt x="28" y="319"/>
                    <a:pt x="6" y="269"/>
                    <a:pt x="3" y="217"/>
                  </a:cubicBezTo>
                  <a:close/>
                  <a:moveTo>
                    <a:pt x="195" y="7"/>
                  </a:moveTo>
                  <a:cubicBezTo>
                    <a:pt x="144" y="10"/>
                    <a:pt x="94" y="32"/>
                    <a:pt x="58" y="73"/>
                  </a:cubicBezTo>
                  <a:cubicBezTo>
                    <a:pt x="21" y="114"/>
                    <a:pt x="4" y="166"/>
                    <a:pt x="7" y="216"/>
                  </a:cubicBezTo>
                  <a:cubicBezTo>
                    <a:pt x="10" y="267"/>
                    <a:pt x="32" y="317"/>
                    <a:pt x="73" y="354"/>
                  </a:cubicBezTo>
                  <a:cubicBezTo>
                    <a:pt x="114" y="391"/>
                    <a:pt x="166" y="407"/>
                    <a:pt x="217" y="404"/>
                  </a:cubicBezTo>
                  <a:cubicBezTo>
                    <a:pt x="268" y="402"/>
                    <a:pt x="317" y="379"/>
                    <a:pt x="354" y="339"/>
                  </a:cubicBezTo>
                  <a:cubicBezTo>
                    <a:pt x="391" y="298"/>
                    <a:pt x="407" y="246"/>
                    <a:pt x="405" y="195"/>
                  </a:cubicBezTo>
                  <a:cubicBezTo>
                    <a:pt x="402" y="144"/>
                    <a:pt x="380" y="94"/>
                    <a:pt x="339" y="57"/>
                  </a:cubicBezTo>
                  <a:cubicBezTo>
                    <a:pt x="298" y="21"/>
                    <a:pt x="246" y="4"/>
                    <a:pt x="195" y="7"/>
                  </a:cubicBezTo>
                  <a:close/>
                </a:path>
              </a:pathLst>
            </a:custGeom>
            <a:solidFill>
              <a:srgbClr val="F5F7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" name="Group 19">
            <a:extLst>
              <a:ext uri="{FF2B5EF4-FFF2-40B4-BE49-F238E27FC236}">
                <a16:creationId xmlns:a16="http://schemas.microsoft.com/office/drawing/2014/main" id="{E0ACF125-BACA-7245-AC1D-381D56B12646}"/>
              </a:ext>
            </a:extLst>
          </p:cNvPr>
          <p:cNvGrpSpPr/>
          <p:nvPr/>
        </p:nvGrpSpPr>
        <p:grpSpPr>
          <a:xfrm>
            <a:off x="3644038" y="4137006"/>
            <a:ext cx="621635" cy="649141"/>
            <a:chOff x="7315925" y="4208444"/>
            <a:chExt cx="621635" cy="649141"/>
          </a:xfrm>
        </p:grpSpPr>
        <p:sp>
          <p:nvSpPr>
            <p:cNvPr id="25" name="Freeform 333">
              <a:extLst>
                <a:ext uri="{FF2B5EF4-FFF2-40B4-BE49-F238E27FC236}">
                  <a16:creationId xmlns:a16="http://schemas.microsoft.com/office/drawing/2014/main" id="{C8538D81-7007-A149-99BA-2C662D1A7C1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15925" y="4208445"/>
              <a:ext cx="621635" cy="649140"/>
            </a:xfrm>
            <a:custGeom>
              <a:avLst/>
              <a:gdLst>
                <a:gd name="T0" fmla="*/ 403 w 415"/>
                <a:gd name="T1" fmla="*/ 129 h 433"/>
                <a:gd name="T2" fmla="*/ 175 w 415"/>
                <a:gd name="T3" fmla="*/ 5 h 433"/>
                <a:gd name="T4" fmla="*/ 150 w 415"/>
                <a:gd name="T5" fmla="*/ 12 h 433"/>
                <a:gd name="T6" fmla="*/ 5 w 415"/>
                <a:gd name="T7" fmla="*/ 279 h 433"/>
                <a:gd name="T8" fmla="*/ 12 w 415"/>
                <a:gd name="T9" fmla="*/ 304 h 433"/>
                <a:gd name="T10" fmla="*/ 240 w 415"/>
                <a:gd name="T11" fmla="*/ 428 h 433"/>
                <a:gd name="T12" fmla="*/ 265 w 415"/>
                <a:gd name="T13" fmla="*/ 421 h 433"/>
                <a:gd name="T14" fmla="*/ 410 w 415"/>
                <a:gd name="T15" fmla="*/ 154 h 433"/>
                <a:gd name="T16" fmla="*/ 403 w 415"/>
                <a:gd name="T17" fmla="*/ 129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5" h="433">
                  <a:moveTo>
                    <a:pt x="403" y="129"/>
                  </a:moveTo>
                  <a:cubicBezTo>
                    <a:pt x="175" y="5"/>
                    <a:pt x="175" y="5"/>
                    <a:pt x="175" y="5"/>
                  </a:cubicBezTo>
                  <a:cubicBezTo>
                    <a:pt x="166" y="0"/>
                    <a:pt x="155" y="3"/>
                    <a:pt x="150" y="12"/>
                  </a:cubicBezTo>
                  <a:cubicBezTo>
                    <a:pt x="5" y="279"/>
                    <a:pt x="5" y="279"/>
                    <a:pt x="5" y="279"/>
                  </a:cubicBezTo>
                  <a:cubicBezTo>
                    <a:pt x="0" y="288"/>
                    <a:pt x="3" y="299"/>
                    <a:pt x="12" y="304"/>
                  </a:cubicBezTo>
                  <a:cubicBezTo>
                    <a:pt x="240" y="428"/>
                    <a:pt x="240" y="428"/>
                    <a:pt x="240" y="428"/>
                  </a:cubicBezTo>
                  <a:cubicBezTo>
                    <a:pt x="249" y="433"/>
                    <a:pt x="260" y="429"/>
                    <a:pt x="265" y="421"/>
                  </a:cubicBezTo>
                  <a:cubicBezTo>
                    <a:pt x="410" y="154"/>
                    <a:pt x="410" y="154"/>
                    <a:pt x="410" y="154"/>
                  </a:cubicBezTo>
                  <a:cubicBezTo>
                    <a:pt x="415" y="145"/>
                    <a:pt x="412" y="134"/>
                    <a:pt x="403" y="129"/>
                  </a:cubicBez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334">
              <a:extLst>
                <a:ext uri="{FF2B5EF4-FFF2-40B4-BE49-F238E27FC236}">
                  <a16:creationId xmlns:a16="http://schemas.microsoft.com/office/drawing/2014/main" id="{BA336DA2-D096-BE4F-B0B0-F8A5E745C848}"/>
                </a:ext>
              </a:extLst>
            </p:cNvPr>
            <p:cNvSpPr>
              <a:spLocks/>
            </p:cNvSpPr>
            <p:nvPr/>
          </p:nvSpPr>
          <p:spPr bwMode="auto">
            <a:xfrm>
              <a:off x="7472709" y="4208444"/>
              <a:ext cx="464851" cy="354827"/>
            </a:xfrm>
            <a:custGeom>
              <a:avLst/>
              <a:gdLst>
                <a:gd name="T0" fmla="*/ 306 w 310"/>
                <a:gd name="T1" fmla="*/ 152 h 237"/>
                <a:gd name="T2" fmla="*/ 299 w 310"/>
                <a:gd name="T3" fmla="*/ 130 h 237"/>
                <a:gd name="T4" fmla="*/ 69 w 310"/>
                <a:gd name="T5" fmla="*/ 4 h 237"/>
                <a:gd name="T6" fmla="*/ 46 w 310"/>
                <a:gd name="T7" fmla="*/ 11 h 237"/>
                <a:gd name="T8" fmla="*/ 0 w 310"/>
                <a:gd name="T9" fmla="*/ 95 h 237"/>
                <a:gd name="T10" fmla="*/ 260 w 310"/>
                <a:gd name="T11" fmla="*/ 237 h 237"/>
                <a:gd name="T12" fmla="*/ 306 w 310"/>
                <a:gd name="T13" fmla="*/ 152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0" h="237">
                  <a:moveTo>
                    <a:pt x="306" y="152"/>
                  </a:moveTo>
                  <a:cubicBezTo>
                    <a:pt x="310" y="144"/>
                    <a:pt x="307" y="134"/>
                    <a:pt x="299" y="130"/>
                  </a:cubicBezTo>
                  <a:cubicBezTo>
                    <a:pt x="69" y="4"/>
                    <a:pt x="69" y="4"/>
                    <a:pt x="69" y="4"/>
                  </a:cubicBezTo>
                  <a:cubicBezTo>
                    <a:pt x="60" y="0"/>
                    <a:pt x="50" y="3"/>
                    <a:pt x="46" y="11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260" y="237"/>
                    <a:pt x="260" y="237"/>
                    <a:pt x="260" y="237"/>
                  </a:cubicBezTo>
                  <a:lnTo>
                    <a:pt x="306" y="152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335">
              <a:extLst>
                <a:ext uri="{FF2B5EF4-FFF2-40B4-BE49-F238E27FC236}">
                  <a16:creationId xmlns:a16="http://schemas.microsoft.com/office/drawing/2014/main" id="{D00AF1D5-DFFC-7546-AB8A-3F4FB1E37888}"/>
                </a:ext>
              </a:extLst>
            </p:cNvPr>
            <p:cNvSpPr>
              <a:spLocks/>
            </p:cNvSpPr>
            <p:nvPr/>
          </p:nvSpPr>
          <p:spPr bwMode="auto">
            <a:xfrm>
              <a:off x="7529555" y="4266207"/>
              <a:ext cx="348408" cy="249387"/>
            </a:xfrm>
            <a:custGeom>
              <a:avLst/>
              <a:gdLst>
                <a:gd name="T0" fmla="*/ 215 w 232"/>
                <a:gd name="T1" fmla="*/ 96 h 166"/>
                <a:gd name="T2" fmla="*/ 51 w 232"/>
                <a:gd name="T3" fmla="*/ 7 h 166"/>
                <a:gd name="T4" fmla="*/ 16 w 232"/>
                <a:gd name="T5" fmla="*/ 17 h 166"/>
                <a:gd name="T6" fmla="*/ 6 w 232"/>
                <a:gd name="T7" fmla="*/ 36 h 166"/>
                <a:gd name="T8" fmla="*/ 17 w 232"/>
                <a:gd name="T9" fmla="*/ 70 h 166"/>
                <a:gd name="T10" fmla="*/ 180 w 232"/>
                <a:gd name="T11" fmla="*/ 159 h 166"/>
                <a:gd name="T12" fmla="*/ 215 w 232"/>
                <a:gd name="T13" fmla="*/ 149 h 166"/>
                <a:gd name="T14" fmla="*/ 225 w 232"/>
                <a:gd name="T15" fmla="*/ 131 h 166"/>
                <a:gd name="T16" fmla="*/ 215 w 232"/>
                <a:gd name="T17" fmla="*/ 9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2" h="166">
                  <a:moveTo>
                    <a:pt x="215" y="96"/>
                  </a:moveTo>
                  <a:cubicBezTo>
                    <a:pt x="51" y="7"/>
                    <a:pt x="51" y="7"/>
                    <a:pt x="51" y="7"/>
                  </a:cubicBezTo>
                  <a:cubicBezTo>
                    <a:pt x="39" y="0"/>
                    <a:pt x="23" y="5"/>
                    <a:pt x="16" y="17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0" y="48"/>
                    <a:pt x="4" y="64"/>
                    <a:pt x="17" y="70"/>
                  </a:cubicBezTo>
                  <a:cubicBezTo>
                    <a:pt x="180" y="159"/>
                    <a:pt x="180" y="159"/>
                    <a:pt x="180" y="159"/>
                  </a:cubicBezTo>
                  <a:cubicBezTo>
                    <a:pt x="193" y="166"/>
                    <a:pt x="208" y="162"/>
                    <a:pt x="215" y="149"/>
                  </a:cubicBezTo>
                  <a:cubicBezTo>
                    <a:pt x="225" y="131"/>
                    <a:pt x="225" y="131"/>
                    <a:pt x="225" y="131"/>
                  </a:cubicBezTo>
                  <a:cubicBezTo>
                    <a:pt x="232" y="118"/>
                    <a:pt x="227" y="103"/>
                    <a:pt x="215" y="96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336">
              <a:extLst>
                <a:ext uri="{FF2B5EF4-FFF2-40B4-BE49-F238E27FC236}">
                  <a16:creationId xmlns:a16="http://schemas.microsoft.com/office/drawing/2014/main" id="{72AA5498-3F5D-9241-9156-79254A7320A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4139" y="4270791"/>
              <a:ext cx="339240" cy="240219"/>
            </a:xfrm>
            <a:custGeom>
              <a:avLst/>
              <a:gdLst>
                <a:gd name="T0" fmla="*/ 210 w 226"/>
                <a:gd name="T1" fmla="*/ 94 h 160"/>
                <a:gd name="T2" fmla="*/ 49 w 226"/>
                <a:gd name="T3" fmla="*/ 7 h 160"/>
                <a:gd name="T4" fmla="*/ 16 w 226"/>
                <a:gd name="T5" fmla="*/ 16 h 160"/>
                <a:gd name="T6" fmla="*/ 7 w 226"/>
                <a:gd name="T7" fmla="*/ 34 h 160"/>
                <a:gd name="T8" fmla="*/ 16 w 226"/>
                <a:gd name="T9" fmla="*/ 67 h 160"/>
                <a:gd name="T10" fmla="*/ 177 w 226"/>
                <a:gd name="T11" fmla="*/ 154 h 160"/>
                <a:gd name="T12" fmla="*/ 210 w 226"/>
                <a:gd name="T13" fmla="*/ 144 h 160"/>
                <a:gd name="T14" fmla="*/ 219 w 226"/>
                <a:gd name="T15" fmla="*/ 127 h 160"/>
                <a:gd name="T16" fmla="*/ 210 w 226"/>
                <a:gd name="T17" fmla="*/ 94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6" h="160">
                  <a:moveTo>
                    <a:pt x="210" y="94"/>
                  </a:moveTo>
                  <a:cubicBezTo>
                    <a:pt x="49" y="7"/>
                    <a:pt x="49" y="7"/>
                    <a:pt x="49" y="7"/>
                  </a:cubicBezTo>
                  <a:cubicBezTo>
                    <a:pt x="37" y="0"/>
                    <a:pt x="22" y="5"/>
                    <a:pt x="16" y="16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0" y="45"/>
                    <a:pt x="5" y="60"/>
                    <a:pt x="16" y="67"/>
                  </a:cubicBezTo>
                  <a:cubicBezTo>
                    <a:pt x="177" y="154"/>
                    <a:pt x="177" y="154"/>
                    <a:pt x="177" y="154"/>
                  </a:cubicBezTo>
                  <a:cubicBezTo>
                    <a:pt x="189" y="160"/>
                    <a:pt x="204" y="156"/>
                    <a:pt x="210" y="144"/>
                  </a:cubicBezTo>
                  <a:cubicBezTo>
                    <a:pt x="219" y="127"/>
                    <a:pt x="219" y="127"/>
                    <a:pt x="219" y="127"/>
                  </a:cubicBezTo>
                  <a:cubicBezTo>
                    <a:pt x="226" y="115"/>
                    <a:pt x="222" y="101"/>
                    <a:pt x="210" y="9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337">
              <a:extLst>
                <a:ext uri="{FF2B5EF4-FFF2-40B4-BE49-F238E27FC236}">
                  <a16:creationId xmlns:a16="http://schemas.microsoft.com/office/drawing/2014/main" id="{1E1A8CEB-BD9B-8249-9742-5E1E293777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5288" y="4407403"/>
              <a:ext cx="119192" cy="103607"/>
            </a:xfrm>
            <a:custGeom>
              <a:avLst/>
              <a:gdLst>
                <a:gd name="T0" fmla="*/ 68 w 80"/>
                <a:gd name="T1" fmla="*/ 23 h 69"/>
                <a:gd name="T2" fmla="*/ 35 w 80"/>
                <a:gd name="T3" fmla="*/ 5 h 69"/>
                <a:gd name="T4" fmla="*/ 10 w 80"/>
                <a:gd name="T5" fmla="*/ 13 h 69"/>
                <a:gd name="T6" fmla="*/ 5 w 80"/>
                <a:gd name="T7" fmla="*/ 21 h 69"/>
                <a:gd name="T8" fmla="*/ 13 w 80"/>
                <a:gd name="T9" fmla="*/ 47 h 69"/>
                <a:gd name="T10" fmla="*/ 45 w 80"/>
                <a:gd name="T11" fmla="*/ 64 h 69"/>
                <a:gd name="T12" fmla="*/ 71 w 80"/>
                <a:gd name="T13" fmla="*/ 57 h 69"/>
                <a:gd name="T14" fmla="*/ 75 w 80"/>
                <a:gd name="T15" fmla="*/ 48 h 69"/>
                <a:gd name="T16" fmla="*/ 68 w 80"/>
                <a:gd name="T17" fmla="*/ 2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0" h="69">
                  <a:moveTo>
                    <a:pt x="68" y="23"/>
                  </a:moveTo>
                  <a:cubicBezTo>
                    <a:pt x="35" y="5"/>
                    <a:pt x="35" y="5"/>
                    <a:pt x="35" y="5"/>
                  </a:cubicBezTo>
                  <a:cubicBezTo>
                    <a:pt x="26" y="0"/>
                    <a:pt x="15" y="4"/>
                    <a:pt x="10" y="13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0" y="30"/>
                    <a:pt x="4" y="42"/>
                    <a:pt x="13" y="47"/>
                  </a:cubicBezTo>
                  <a:cubicBezTo>
                    <a:pt x="45" y="64"/>
                    <a:pt x="45" y="64"/>
                    <a:pt x="45" y="64"/>
                  </a:cubicBezTo>
                  <a:cubicBezTo>
                    <a:pt x="54" y="69"/>
                    <a:pt x="66" y="66"/>
                    <a:pt x="71" y="57"/>
                  </a:cubicBezTo>
                  <a:cubicBezTo>
                    <a:pt x="75" y="48"/>
                    <a:pt x="75" y="48"/>
                    <a:pt x="75" y="48"/>
                  </a:cubicBezTo>
                  <a:cubicBezTo>
                    <a:pt x="80" y="39"/>
                    <a:pt x="77" y="28"/>
                    <a:pt x="68" y="23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338">
              <a:extLst>
                <a:ext uri="{FF2B5EF4-FFF2-40B4-BE49-F238E27FC236}">
                  <a16:creationId xmlns:a16="http://schemas.microsoft.com/office/drawing/2014/main" id="{BD5C626B-B01E-5849-854D-4357E9B1E106}"/>
                </a:ext>
              </a:extLst>
            </p:cNvPr>
            <p:cNvSpPr>
              <a:spLocks/>
            </p:cNvSpPr>
            <p:nvPr/>
          </p:nvSpPr>
          <p:spPr bwMode="auto">
            <a:xfrm>
              <a:off x="7573565" y="4471585"/>
              <a:ext cx="118275" cy="103607"/>
            </a:xfrm>
            <a:custGeom>
              <a:avLst/>
              <a:gdLst>
                <a:gd name="T0" fmla="*/ 67 w 79"/>
                <a:gd name="T1" fmla="*/ 22 h 69"/>
                <a:gd name="T2" fmla="*/ 35 w 79"/>
                <a:gd name="T3" fmla="*/ 5 h 69"/>
                <a:gd name="T4" fmla="*/ 9 w 79"/>
                <a:gd name="T5" fmla="*/ 12 h 69"/>
                <a:gd name="T6" fmla="*/ 5 w 79"/>
                <a:gd name="T7" fmla="*/ 21 h 69"/>
                <a:gd name="T8" fmla="*/ 12 w 79"/>
                <a:gd name="T9" fmla="*/ 46 h 69"/>
                <a:gd name="T10" fmla="*/ 44 w 79"/>
                <a:gd name="T11" fmla="*/ 64 h 69"/>
                <a:gd name="T12" fmla="*/ 70 w 79"/>
                <a:gd name="T13" fmla="*/ 56 h 69"/>
                <a:gd name="T14" fmla="*/ 74 w 79"/>
                <a:gd name="T15" fmla="*/ 48 h 69"/>
                <a:gd name="T16" fmla="*/ 67 w 79"/>
                <a:gd name="T17" fmla="*/ 22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" h="69">
                  <a:moveTo>
                    <a:pt x="67" y="22"/>
                  </a:moveTo>
                  <a:cubicBezTo>
                    <a:pt x="35" y="5"/>
                    <a:pt x="35" y="5"/>
                    <a:pt x="35" y="5"/>
                  </a:cubicBezTo>
                  <a:cubicBezTo>
                    <a:pt x="25" y="0"/>
                    <a:pt x="14" y="3"/>
                    <a:pt x="9" y="1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0" y="30"/>
                    <a:pt x="3" y="41"/>
                    <a:pt x="12" y="46"/>
                  </a:cubicBezTo>
                  <a:cubicBezTo>
                    <a:pt x="44" y="64"/>
                    <a:pt x="44" y="64"/>
                    <a:pt x="44" y="64"/>
                  </a:cubicBezTo>
                  <a:cubicBezTo>
                    <a:pt x="53" y="69"/>
                    <a:pt x="65" y="65"/>
                    <a:pt x="70" y="56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79" y="39"/>
                    <a:pt x="76" y="27"/>
                    <a:pt x="67" y="2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39">
              <a:extLst>
                <a:ext uri="{FF2B5EF4-FFF2-40B4-BE49-F238E27FC236}">
                  <a16:creationId xmlns:a16="http://schemas.microsoft.com/office/drawing/2014/main" id="{B6744BE3-2FD7-A448-B155-F41232A0098B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1280" y="4488087"/>
              <a:ext cx="120109" cy="103607"/>
            </a:xfrm>
            <a:custGeom>
              <a:avLst/>
              <a:gdLst>
                <a:gd name="T0" fmla="*/ 67 w 80"/>
                <a:gd name="T1" fmla="*/ 23 h 69"/>
                <a:gd name="T2" fmla="*/ 35 w 80"/>
                <a:gd name="T3" fmla="*/ 5 h 69"/>
                <a:gd name="T4" fmla="*/ 10 w 80"/>
                <a:gd name="T5" fmla="*/ 13 h 69"/>
                <a:gd name="T6" fmla="*/ 5 w 80"/>
                <a:gd name="T7" fmla="*/ 21 h 69"/>
                <a:gd name="T8" fmla="*/ 13 w 80"/>
                <a:gd name="T9" fmla="*/ 46 h 69"/>
                <a:gd name="T10" fmla="*/ 45 w 80"/>
                <a:gd name="T11" fmla="*/ 64 h 69"/>
                <a:gd name="T12" fmla="*/ 70 w 80"/>
                <a:gd name="T13" fmla="*/ 56 h 69"/>
                <a:gd name="T14" fmla="*/ 75 w 80"/>
                <a:gd name="T15" fmla="*/ 48 h 69"/>
                <a:gd name="T16" fmla="*/ 67 w 80"/>
                <a:gd name="T17" fmla="*/ 2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0" h="69">
                  <a:moveTo>
                    <a:pt x="67" y="23"/>
                  </a:moveTo>
                  <a:cubicBezTo>
                    <a:pt x="35" y="5"/>
                    <a:pt x="35" y="5"/>
                    <a:pt x="35" y="5"/>
                  </a:cubicBezTo>
                  <a:cubicBezTo>
                    <a:pt x="26" y="0"/>
                    <a:pt x="15" y="3"/>
                    <a:pt x="10" y="13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0" y="30"/>
                    <a:pt x="4" y="41"/>
                    <a:pt x="13" y="46"/>
                  </a:cubicBezTo>
                  <a:cubicBezTo>
                    <a:pt x="45" y="64"/>
                    <a:pt x="45" y="64"/>
                    <a:pt x="45" y="64"/>
                  </a:cubicBezTo>
                  <a:cubicBezTo>
                    <a:pt x="54" y="69"/>
                    <a:pt x="65" y="65"/>
                    <a:pt x="70" y="56"/>
                  </a:cubicBezTo>
                  <a:cubicBezTo>
                    <a:pt x="75" y="48"/>
                    <a:pt x="75" y="48"/>
                    <a:pt x="75" y="48"/>
                  </a:cubicBezTo>
                  <a:cubicBezTo>
                    <a:pt x="80" y="39"/>
                    <a:pt x="77" y="28"/>
                    <a:pt x="67" y="23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40">
              <a:extLst>
                <a:ext uri="{FF2B5EF4-FFF2-40B4-BE49-F238E27FC236}">
                  <a16:creationId xmlns:a16="http://schemas.microsoft.com/office/drawing/2014/main" id="{F4D1D189-447B-E846-A93E-7F61391B4A08}"/>
                </a:ext>
              </a:extLst>
            </p:cNvPr>
            <p:cNvSpPr>
              <a:spLocks/>
            </p:cNvSpPr>
            <p:nvPr/>
          </p:nvSpPr>
          <p:spPr bwMode="auto">
            <a:xfrm>
              <a:off x="7528639" y="4553186"/>
              <a:ext cx="120109" cy="101772"/>
            </a:xfrm>
            <a:custGeom>
              <a:avLst/>
              <a:gdLst>
                <a:gd name="T0" fmla="*/ 68 w 80"/>
                <a:gd name="T1" fmla="*/ 22 h 68"/>
                <a:gd name="T2" fmla="*/ 35 w 80"/>
                <a:gd name="T3" fmla="*/ 5 h 68"/>
                <a:gd name="T4" fmla="*/ 10 w 80"/>
                <a:gd name="T5" fmla="*/ 12 h 68"/>
                <a:gd name="T6" fmla="*/ 5 w 80"/>
                <a:gd name="T7" fmla="*/ 20 h 68"/>
                <a:gd name="T8" fmla="*/ 13 w 80"/>
                <a:gd name="T9" fmla="*/ 46 h 68"/>
                <a:gd name="T10" fmla="*/ 45 w 80"/>
                <a:gd name="T11" fmla="*/ 63 h 68"/>
                <a:gd name="T12" fmla="*/ 71 w 80"/>
                <a:gd name="T13" fmla="*/ 56 h 68"/>
                <a:gd name="T14" fmla="*/ 75 w 80"/>
                <a:gd name="T15" fmla="*/ 48 h 68"/>
                <a:gd name="T16" fmla="*/ 68 w 80"/>
                <a:gd name="T17" fmla="*/ 22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0" h="68">
                  <a:moveTo>
                    <a:pt x="68" y="22"/>
                  </a:moveTo>
                  <a:cubicBezTo>
                    <a:pt x="35" y="5"/>
                    <a:pt x="35" y="5"/>
                    <a:pt x="35" y="5"/>
                  </a:cubicBezTo>
                  <a:cubicBezTo>
                    <a:pt x="26" y="0"/>
                    <a:pt x="15" y="3"/>
                    <a:pt x="10" y="12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0" y="30"/>
                    <a:pt x="4" y="41"/>
                    <a:pt x="13" y="46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54" y="68"/>
                    <a:pt x="66" y="65"/>
                    <a:pt x="71" y="56"/>
                  </a:cubicBezTo>
                  <a:cubicBezTo>
                    <a:pt x="75" y="48"/>
                    <a:pt x="75" y="48"/>
                    <a:pt x="75" y="48"/>
                  </a:cubicBezTo>
                  <a:cubicBezTo>
                    <a:pt x="80" y="38"/>
                    <a:pt x="77" y="27"/>
                    <a:pt x="68" y="2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41">
              <a:extLst>
                <a:ext uri="{FF2B5EF4-FFF2-40B4-BE49-F238E27FC236}">
                  <a16:creationId xmlns:a16="http://schemas.microsoft.com/office/drawing/2014/main" id="{F41361EE-700C-FA47-A4E5-A8F02FC988D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6914" y="4617366"/>
              <a:ext cx="120109" cy="101772"/>
            </a:xfrm>
            <a:custGeom>
              <a:avLst/>
              <a:gdLst>
                <a:gd name="T0" fmla="*/ 67 w 80"/>
                <a:gd name="T1" fmla="*/ 22 h 68"/>
                <a:gd name="T2" fmla="*/ 35 w 80"/>
                <a:gd name="T3" fmla="*/ 4 h 68"/>
                <a:gd name="T4" fmla="*/ 10 w 80"/>
                <a:gd name="T5" fmla="*/ 12 h 68"/>
                <a:gd name="T6" fmla="*/ 5 w 80"/>
                <a:gd name="T7" fmla="*/ 20 h 68"/>
                <a:gd name="T8" fmla="*/ 13 w 80"/>
                <a:gd name="T9" fmla="*/ 46 h 68"/>
                <a:gd name="T10" fmla="*/ 45 w 80"/>
                <a:gd name="T11" fmla="*/ 63 h 68"/>
                <a:gd name="T12" fmla="*/ 70 w 80"/>
                <a:gd name="T13" fmla="*/ 56 h 68"/>
                <a:gd name="T14" fmla="*/ 75 w 80"/>
                <a:gd name="T15" fmla="*/ 47 h 68"/>
                <a:gd name="T16" fmla="*/ 67 w 80"/>
                <a:gd name="T17" fmla="*/ 22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0" h="68">
                  <a:moveTo>
                    <a:pt x="67" y="22"/>
                  </a:moveTo>
                  <a:cubicBezTo>
                    <a:pt x="35" y="4"/>
                    <a:pt x="35" y="4"/>
                    <a:pt x="35" y="4"/>
                  </a:cubicBezTo>
                  <a:cubicBezTo>
                    <a:pt x="26" y="0"/>
                    <a:pt x="15" y="3"/>
                    <a:pt x="10" y="12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0" y="29"/>
                    <a:pt x="4" y="41"/>
                    <a:pt x="13" y="46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54" y="68"/>
                    <a:pt x="65" y="65"/>
                    <a:pt x="70" y="56"/>
                  </a:cubicBezTo>
                  <a:cubicBezTo>
                    <a:pt x="75" y="47"/>
                    <a:pt x="75" y="47"/>
                    <a:pt x="75" y="47"/>
                  </a:cubicBezTo>
                  <a:cubicBezTo>
                    <a:pt x="80" y="38"/>
                    <a:pt x="77" y="27"/>
                    <a:pt x="67" y="2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42">
              <a:extLst>
                <a:ext uri="{FF2B5EF4-FFF2-40B4-BE49-F238E27FC236}">
                  <a16:creationId xmlns:a16="http://schemas.microsoft.com/office/drawing/2014/main" id="{4768156B-0C86-0547-A18E-42C85D9AE247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8187" y="4567855"/>
              <a:ext cx="120109" cy="103607"/>
            </a:xfrm>
            <a:custGeom>
              <a:avLst/>
              <a:gdLst>
                <a:gd name="T0" fmla="*/ 68 w 80"/>
                <a:gd name="T1" fmla="*/ 23 h 69"/>
                <a:gd name="T2" fmla="*/ 35 w 80"/>
                <a:gd name="T3" fmla="*/ 5 h 69"/>
                <a:gd name="T4" fmla="*/ 10 w 80"/>
                <a:gd name="T5" fmla="*/ 13 h 69"/>
                <a:gd name="T6" fmla="*/ 5 w 80"/>
                <a:gd name="T7" fmla="*/ 21 h 69"/>
                <a:gd name="T8" fmla="*/ 13 w 80"/>
                <a:gd name="T9" fmla="*/ 46 h 69"/>
                <a:gd name="T10" fmla="*/ 45 w 80"/>
                <a:gd name="T11" fmla="*/ 64 h 69"/>
                <a:gd name="T12" fmla="*/ 71 w 80"/>
                <a:gd name="T13" fmla="*/ 56 h 69"/>
                <a:gd name="T14" fmla="*/ 75 w 80"/>
                <a:gd name="T15" fmla="*/ 48 h 69"/>
                <a:gd name="T16" fmla="*/ 68 w 80"/>
                <a:gd name="T17" fmla="*/ 2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0" h="69">
                  <a:moveTo>
                    <a:pt x="68" y="23"/>
                  </a:moveTo>
                  <a:cubicBezTo>
                    <a:pt x="35" y="5"/>
                    <a:pt x="35" y="5"/>
                    <a:pt x="35" y="5"/>
                  </a:cubicBezTo>
                  <a:cubicBezTo>
                    <a:pt x="26" y="0"/>
                    <a:pt x="15" y="3"/>
                    <a:pt x="10" y="13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0" y="30"/>
                    <a:pt x="4" y="41"/>
                    <a:pt x="13" y="46"/>
                  </a:cubicBezTo>
                  <a:cubicBezTo>
                    <a:pt x="45" y="64"/>
                    <a:pt x="45" y="64"/>
                    <a:pt x="45" y="64"/>
                  </a:cubicBezTo>
                  <a:cubicBezTo>
                    <a:pt x="54" y="69"/>
                    <a:pt x="66" y="66"/>
                    <a:pt x="71" y="56"/>
                  </a:cubicBezTo>
                  <a:cubicBezTo>
                    <a:pt x="75" y="48"/>
                    <a:pt x="75" y="48"/>
                    <a:pt x="75" y="48"/>
                  </a:cubicBezTo>
                  <a:cubicBezTo>
                    <a:pt x="80" y="39"/>
                    <a:pt x="77" y="28"/>
                    <a:pt x="68" y="23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43">
              <a:extLst>
                <a:ext uri="{FF2B5EF4-FFF2-40B4-BE49-F238E27FC236}">
                  <a16:creationId xmlns:a16="http://schemas.microsoft.com/office/drawing/2014/main" id="{691DF17A-CF6B-8548-B2B6-D78ED551CE27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6463" y="4632037"/>
              <a:ext cx="118275" cy="102689"/>
            </a:xfrm>
            <a:custGeom>
              <a:avLst/>
              <a:gdLst>
                <a:gd name="T0" fmla="*/ 67 w 79"/>
                <a:gd name="T1" fmla="*/ 22 h 68"/>
                <a:gd name="T2" fmla="*/ 34 w 79"/>
                <a:gd name="T3" fmla="*/ 5 h 68"/>
                <a:gd name="T4" fmla="*/ 9 w 79"/>
                <a:gd name="T5" fmla="*/ 12 h 68"/>
                <a:gd name="T6" fmla="*/ 4 w 79"/>
                <a:gd name="T7" fmla="*/ 20 h 68"/>
                <a:gd name="T8" fmla="*/ 12 w 79"/>
                <a:gd name="T9" fmla="*/ 46 h 68"/>
                <a:gd name="T10" fmla="*/ 44 w 79"/>
                <a:gd name="T11" fmla="*/ 63 h 68"/>
                <a:gd name="T12" fmla="*/ 70 w 79"/>
                <a:gd name="T13" fmla="*/ 56 h 68"/>
                <a:gd name="T14" fmla="*/ 74 w 79"/>
                <a:gd name="T15" fmla="*/ 48 h 68"/>
                <a:gd name="T16" fmla="*/ 67 w 79"/>
                <a:gd name="T17" fmla="*/ 22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" h="68">
                  <a:moveTo>
                    <a:pt x="67" y="22"/>
                  </a:moveTo>
                  <a:cubicBezTo>
                    <a:pt x="34" y="5"/>
                    <a:pt x="34" y="5"/>
                    <a:pt x="34" y="5"/>
                  </a:cubicBezTo>
                  <a:cubicBezTo>
                    <a:pt x="25" y="0"/>
                    <a:pt x="14" y="3"/>
                    <a:pt x="9" y="12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0" y="30"/>
                    <a:pt x="3" y="41"/>
                    <a:pt x="12" y="46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53" y="68"/>
                    <a:pt x="65" y="65"/>
                    <a:pt x="70" y="56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79" y="38"/>
                    <a:pt x="76" y="27"/>
                    <a:pt x="67" y="2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44">
              <a:extLst>
                <a:ext uri="{FF2B5EF4-FFF2-40B4-BE49-F238E27FC236}">
                  <a16:creationId xmlns:a16="http://schemas.microsoft.com/office/drawing/2014/main" id="{246B6D7B-21F2-ED4D-BFFA-52BC27C324F3}"/>
                </a:ext>
              </a:extLst>
            </p:cNvPr>
            <p:cNvSpPr>
              <a:spLocks/>
            </p:cNvSpPr>
            <p:nvPr/>
          </p:nvSpPr>
          <p:spPr bwMode="auto">
            <a:xfrm>
              <a:off x="7603820" y="4697133"/>
              <a:ext cx="119192" cy="101772"/>
            </a:xfrm>
            <a:custGeom>
              <a:avLst/>
              <a:gdLst>
                <a:gd name="T0" fmla="*/ 68 w 80"/>
                <a:gd name="T1" fmla="*/ 22 h 68"/>
                <a:gd name="T2" fmla="*/ 35 w 80"/>
                <a:gd name="T3" fmla="*/ 4 h 68"/>
                <a:gd name="T4" fmla="*/ 10 w 80"/>
                <a:gd name="T5" fmla="*/ 12 h 68"/>
                <a:gd name="T6" fmla="*/ 5 w 80"/>
                <a:gd name="T7" fmla="*/ 20 h 68"/>
                <a:gd name="T8" fmla="*/ 13 w 80"/>
                <a:gd name="T9" fmla="*/ 46 h 68"/>
                <a:gd name="T10" fmla="*/ 45 w 80"/>
                <a:gd name="T11" fmla="*/ 63 h 68"/>
                <a:gd name="T12" fmla="*/ 71 w 80"/>
                <a:gd name="T13" fmla="*/ 56 h 68"/>
                <a:gd name="T14" fmla="*/ 75 w 80"/>
                <a:gd name="T15" fmla="*/ 47 h 68"/>
                <a:gd name="T16" fmla="*/ 68 w 80"/>
                <a:gd name="T17" fmla="*/ 22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0" h="68">
                  <a:moveTo>
                    <a:pt x="68" y="22"/>
                  </a:moveTo>
                  <a:cubicBezTo>
                    <a:pt x="35" y="4"/>
                    <a:pt x="35" y="4"/>
                    <a:pt x="35" y="4"/>
                  </a:cubicBezTo>
                  <a:cubicBezTo>
                    <a:pt x="26" y="0"/>
                    <a:pt x="15" y="3"/>
                    <a:pt x="10" y="12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0" y="29"/>
                    <a:pt x="4" y="41"/>
                    <a:pt x="13" y="46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54" y="68"/>
                    <a:pt x="66" y="65"/>
                    <a:pt x="71" y="56"/>
                  </a:cubicBezTo>
                  <a:cubicBezTo>
                    <a:pt x="75" y="47"/>
                    <a:pt x="75" y="47"/>
                    <a:pt x="75" y="47"/>
                  </a:cubicBezTo>
                  <a:cubicBezTo>
                    <a:pt x="80" y="38"/>
                    <a:pt x="77" y="27"/>
                    <a:pt x="68" y="2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45">
              <a:extLst>
                <a:ext uri="{FF2B5EF4-FFF2-40B4-BE49-F238E27FC236}">
                  <a16:creationId xmlns:a16="http://schemas.microsoft.com/office/drawing/2014/main" id="{75BF505D-8C99-6640-806E-93F29ED81A3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0007" y="4536682"/>
              <a:ext cx="120109" cy="103607"/>
            </a:xfrm>
            <a:custGeom>
              <a:avLst/>
              <a:gdLst>
                <a:gd name="T0" fmla="*/ 71 w 80"/>
                <a:gd name="T1" fmla="*/ 56 h 69"/>
                <a:gd name="T2" fmla="*/ 45 w 80"/>
                <a:gd name="T3" fmla="*/ 64 h 69"/>
                <a:gd name="T4" fmla="*/ 13 w 80"/>
                <a:gd name="T5" fmla="*/ 46 h 69"/>
                <a:gd name="T6" fmla="*/ 5 w 80"/>
                <a:gd name="T7" fmla="*/ 21 h 69"/>
                <a:gd name="T8" fmla="*/ 10 w 80"/>
                <a:gd name="T9" fmla="*/ 12 h 69"/>
                <a:gd name="T10" fmla="*/ 35 w 80"/>
                <a:gd name="T11" fmla="*/ 5 h 69"/>
                <a:gd name="T12" fmla="*/ 68 w 80"/>
                <a:gd name="T13" fmla="*/ 22 h 69"/>
                <a:gd name="T14" fmla="*/ 75 w 80"/>
                <a:gd name="T15" fmla="*/ 48 h 69"/>
                <a:gd name="T16" fmla="*/ 71 w 80"/>
                <a:gd name="T17" fmla="*/ 56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0" h="69">
                  <a:moveTo>
                    <a:pt x="71" y="56"/>
                  </a:moveTo>
                  <a:cubicBezTo>
                    <a:pt x="66" y="65"/>
                    <a:pt x="54" y="69"/>
                    <a:pt x="45" y="64"/>
                  </a:cubicBezTo>
                  <a:cubicBezTo>
                    <a:pt x="13" y="46"/>
                    <a:pt x="13" y="46"/>
                    <a:pt x="13" y="46"/>
                  </a:cubicBezTo>
                  <a:cubicBezTo>
                    <a:pt x="4" y="41"/>
                    <a:pt x="0" y="30"/>
                    <a:pt x="5" y="2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5" y="3"/>
                    <a:pt x="26" y="0"/>
                    <a:pt x="35" y="5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77" y="27"/>
                    <a:pt x="80" y="39"/>
                    <a:pt x="75" y="48"/>
                  </a:cubicBezTo>
                  <a:lnTo>
                    <a:pt x="71" y="56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46">
              <a:extLst>
                <a:ext uri="{FF2B5EF4-FFF2-40B4-BE49-F238E27FC236}">
                  <a16:creationId xmlns:a16="http://schemas.microsoft.com/office/drawing/2014/main" id="{E2E35A5A-2536-5349-BA41-37096A0453B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3674" y="4657707"/>
              <a:ext cx="28423" cy="21088"/>
            </a:xfrm>
            <a:custGeom>
              <a:avLst/>
              <a:gdLst>
                <a:gd name="T0" fmla="*/ 17 w 19"/>
                <a:gd name="T1" fmla="*/ 14 h 14"/>
                <a:gd name="T2" fmla="*/ 16 w 19"/>
                <a:gd name="T3" fmla="*/ 14 h 14"/>
                <a:gd name="T4" fmla="*/ 0 w 19"/>
                <a:gd name="T5" fmla="*/ 6 h 14"/>
                <a:gd name="T6" fmla="*/ 0 w 19"/>
                <a:gd name="T7" fmla="*/ 5 h 14"/>
                <a:gd name="T8" fmla="*/ 2 w 19"/>
                <a:gd name="T9" fmla="*/ 1 h 14"/>
                <a:gd name="T10" fmla="*/ 3 w 19"/>
                <a:gd name="T11" fmla="*/ 0 h 14"/>
                <a:gd name="T12" fmla="*/ 18 w 19"/>
                <a:gd name="T13" fmla="*/ 9 h 14"/>
                <a:gd name="T14" fmla="*/ 19 w 19"/>
                <a:gd name="T15" fmla="*/ 10 h 14"/>
                <a:gd name="T16" fmla="*/ 17 w 19"/>
                <a:gd name="T1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4">
                  <a:moveTo>
                    <a:pt x="17" y="14"/>
                  </a:moveTo>
                  <a:cubicBezTo>
                    <a:pt x="16" y="14"/>
                    <a:pt x="16" y="14"/>
                    <a:pt x="16" y="1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3" y="0"/>
                    <a:pt x="3" y="0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9" y="10"/>
                    <a:pt x="19" y="10"/>
                    <a:pt x="19" y="10"/>
                  </a:cubicBezTo>
                  <a:lnTo>
                    <a:pt x="17" y="1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47">
              <a:extLst>
                <a:ext uri="{FF2B5EF4-FFF2-40B4-BE49-F238E27FC236}">
                  <a16:creationId xmlns:a16="http://schemas.microsoft.com/office/drawing/2014/main" id="{69520CE1-FB10-FD45-BA5D-991DA7539388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6424" y="4654958"/>
              <a:ext cx="21088" cy="28423"/>
            </a:xfrm>
            <a:custGeom>
              <a:avLst/>
              <a:gdLst>
                <a:gd name="T0" fmla="*/ 1 w 14"/>
                <a:gd name="T1" fmla="*/ 16 h 19"/>
                <a:gd name="T2" fmla="*/ 0 w 14"/>
                <a:gd name="T3" fmla="*/ 15 h 19"/>
                <a:gd name="T4" fmla="*/ 9 w 14"/>
                <a:gd name="T5" fmla="*/ 0 h 19"/>
                <a:gd name="T6" fmla="*/ 10 w 14"/>
                <a:gd name="T7" fmla="*/ 0 h 19"/>
                <a:gd name="T8" fmla="*/ 14 w 14"/>
                <a:gd name="T9" fmla="*/ 2 h 19"/>
                <a:gd name="T10" fmla="*/ 14 w 14"/>
                <a:gd name="T11" fmla="*/ 3 h 19"/>
                <a:gd name="T12" fmla="*/ 6 w 14"/>
                <a:gd name="T13" fmla="*/ 18 h 19"/>
                <a:gd name="T14" fmla="*/ 5 w 14"/>
                <a:gd name="T15" fmla="*/ 18 h 19"/>
                <a:gd name="T16" fmla="*/ 1 w 14"/>
                <a:gd name="T17" fmla="*/ 1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19">
                  <a:moveTo>
                    <a:pt x="1" y="16"/>
                  </a:moveTo>
                  <a:cubicBezTo>
                    <a:pt x="0" y="16"/>
                    <a:pt x="0" y="16"/>
                    <a:pt x="0" y="15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10" y="0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4" y="3"/>
                    <a:pt x="14" y="3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9"/>
                    <a:pt x="5" y="19"/>
                    <a:pt x="5" y="18"/>
                  </a:cubicBezTo>
                  <a:lnTo>
                    <a:pt x="1" y="16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48">
              <a:extLst>
                <a:ext uri="{FF2B5EF4-FFF2-40B4-BE49-F238E27FC236}">
                  <a16:creationId xmlns:a16="http://schemas.microsoft.com/office/drawing/2014/main" id="{B2ADBE43-96B4-5440-84EF-DFB48647BB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7807" y="4668711"/>
              <a:ext cx="16504" cy="29340"/>
            </a:xfrm>
            <a:custGeom>
              <a:avLst/>
              <a:gdLst>
                <a:gd name="T0" fmla="*/ 6 w 11"/>
                <a:gd name="T1" fmla="*/ 20 h 20"/>
                <a:gd name="T2" fmla="*/ 5 w 11"/>
                <a:gd name="T3" fmla="*/ 19 h 20"/>
                <a:gd name="T4" fmla="*/ 0 w 11"/>
                <a:gd name="T5" fmla="*/ 3 h 20"/>
                <a:gd name="T6" fmla="*/ 1 w 11"/>
                <a:gd name="T7" fmla="*/ 2 h 20"/>
                <a:gd name="T8" fmla="*/ 5 w 11"/>
                <a:gd name="T9" fmla="*/ 0 h 20"/>
                <a:gd name="T10" fmla="*/ 6 w 11"/>
                <a:gd name="T11" fmla="*/ 1 h 20"/>
                <a:gd name="T12" fmla="*/ 11 w 11"/>
                <a:gd name="T13" fmla="*/ 18 h 20"/>
                <a:gd name="T14" fmla="*/ 10 w 11"/>
                <a:gd name="T15" fmla="*/ 18 h 20"/>
                <a:gd name="T16" fmla="*/ 6 w 11"/>
                <a:gd name="T17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20">
                  <a:moveTo>
                    <a:pt x="6" y="20"/>
                  </a:moveTo>
                  <a:cubicBezTo>
                    <a:pt x="6" y="20"/>
                    <a:pt x="5" y="20"/>
                    <a:pt x="5" y="1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2"/>
                    <a:pt x="1" y="2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6" y="0"/>
                    <a:pt x="6" y="1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1" y="18"/>
                    <a:pt x="11" y="18"/>
                    <a:pt x="10" y="18"/>
                  </a:cubicBezTo>
                  <a:lnTo>
                    <a:pt x="6" y="2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349">
              <a:extLst>
                <a:ext uri="{FF2B5EF4-FFF2-40B4-BE49-F238E27FC236}">
                  <a16:creationId xmlns:a16="http://schemas.microsoft.com/office/drawing/2014/main" id="{86BF582C-F269-0949-94E9-5E6BE0FBCB1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1390" y="4676045"/>
              <a:ext cx="28423" cy="14671"/>
            </a:xfrm>
            <a:custGeom>
              <a:avLst/>
              <a:gdLst>
                <a:gd name="T0" fmla="*/ 0 w 19"/>
                <a:gd name="T1" fmla="*/ 6 h 10"/>
                <a:gd name="T2" fmla="*/ 0 w 19"/>
                <a:gd name="T3" fmla="*/ 5 h 10"/>
                <a:gd name="T4" fmla="*/ 17 w 19"/>
                <a:gd name="T5" fmla="*/ 0 h 10"/>
                <a:gd name="T6" fmla="*/ 18 w 19"/>
                <a:gd name="T7" fmla="*/ 0 h 10"/>
                <a:gd name="T8" fmla="*/ 19 w 19"/>
                <a:gd name="T9" fmla="*/ 4 h 10"/>
                <a:gd name="T10" fmla="*/ 19 w 19"/>
                <a:gd name="T11" fmla="*/ 5 h 10"/>
                <a:gd name="T12" fmla="*/ 2 w 19"/>
                <a:gd name="T13" fmla="*/ 10 h 10"/>
                <a:gd name="T14" fmla="*/ 1 w 19"/>
                <a:gd name="T15" fmla="*/ 10 h 10"/>
                <a:gd name="T16" fmla="*/ 0 w 19"/>
                <a:gd name="T1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0">
                  <a:moveTo>
                    <a:pt x="0" y="6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8" y="0"/>
                    <a:pt x="18" y="0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1" y="10"/>
                    <a:pt x="1" y="10"/>
                    <a:pt x="1" y="1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50">
              <a:extLst>
                <a:ext uri="{FF2B5EF4-FFF2-40B4-BE49-F238E27FC236}">
                  <a16:creationId xmlns:a16="http://schemas.microsoft.com/office/drawing/2014/main" id="{09CA66DC-1922-A644-929A-AFF6C0609F74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3114" y="4610947"/>
              <a:ext cx="30257" cy="16504"/>
            </a:xfrm>
            <a:custGeom>
              <a:avLst/>
              <a:gdLst>
                <a:gd name="T0" fmla="*/ 0 w 20"/>
                <a:gd name="T1" fmla="*/ 6 h 11"/>
                <a:gd name="T2" fmla="*/ 1 w 20"/>
                <a:gd name="T3" fmla="*/ 5 h 11"/>
                <a:gd name="T4" fmla="*/ 17 w 20"/>
                <a:gd name="T5" fmla="*/ 0 h 11"/>
                <a:gd name="T6" fmla="*/ 18 w 20"/>
                <a:gd name="T7" fmla="*/ 0 h 11"/>
                <a:gd name="T8" fmla="*/ 19 w 20"/>
                <a:gd name="T9" fmla="*/ 5 h 11"/>
                <a:gd name="T10" fmla="*/ 19 w 20"/>
                <a:gd name="T11" fmla="*/ 6 h 11"/>
                <a:gd name="T12" fmla="*/ 2 w 20"/>
                <a:gd name="T13" fmla="*/ 11 h 11"/>
                <a:gd name="T14" fmla="*/ 1 w 20"/>
                <a:gd name="T15" fmla="*/ 10 h 11"/>
                <a:gd name="T16" fmla="*/ 0 w 20"/>
                <a:gd name="T1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11">
                  <a:moveTo>
                    <a:pt x="0" y="6"/>
                  </a:moveTo>
                  <a:cubicBezTo>
                    <a:pt x="0" y="5"/>
                    <a:pt x="0" y="5"/>
                    <a:pt x="1" y="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20" y="5"/>
                    <a:pt x="19" y="6"/>
                    <a:pt x="19" y="6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1" y="10"/>
                    <a:pt x="1" y="1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51">
              <a:extLst>
                <a:ext uri="{FF2B5EF4-FFF2-40B4-BE49-F238E27FC236}">
                  <a16:creationId xmlns:a16="http://schemas.microsoft.com/office/drawing/2014/main" id="{B49848C4-B9CE-EE47-8899-1A17FC740A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9666" y="4737475"/>
              <a:ext cx="28423" cy="21088"/>
            </a:xfrm>
            <a:custGeom>
              <a:avLst/>
              <a:gdLst>
                <a:gd name="T0" fmla="*/ 17 w 19"/>
                <a:gd name="T1" fmla="*/ 14 h 14"/>
                <a:gd name="T2" fmla="*/ 16 w 19"/>
                <a:gd name="T3" fmla="*/ 14 h 14"/>
                <a:gd name="T4" fmla="*/ 0 w 19"/>
                <a:gd name="T5" fmla="*/ 5 h 14"/>
                <a:gd name="T6" fmla="*/ 0 w 19"/>
                <a:gd name="T7" fmla="*/ 4 h 14"/>
                <a:gd name="T8" fmla="*/ 2 w 19"/>
                <a:gd name="T9" fmla="*/ 1 h 14"/>
                <a:gd name="T10" fmla="*/ 3 w 19"/>
                <a:gd name="T11" fmla="*/ 0 h 14"/>
                <a:gd name="T12" fmla="*/ 19 w 19"/>
                <a:gd name="T13" fmla="*/ 9 h 14"/>
                <a:gd name="T14" fmla="*/ 19 w 19"/>
                <a:gd name="T15" fmla="*/ 10 h 14"/>
                <a:gd name="T16" fmla="*/ 17 w 19"/>
                <a:gd name="T1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4">
                  <a:moveTo>
                    <a:pt x="17" y="14"/>
                  </a:moveTo>
                  <a:cubicBezTo>
                    <a:pt x="17" y="14"/>
                    <a:pt x="16" y="14"/>
                    <a:pt x="16" y="1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4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3" y="0"/>
                    <a:pt x="3" y="0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9"/>
                    <a:pt x="19" y="9"/>
                    <a:pt x="19" y="10"/>
                  </a:cubicBezTo>
                  <a:lnTo>
                    <a:pt x="17" y="1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52">
              <a:extLst>
                <a:ext uri="{FF2B5EF4-FFF2-40B4-BE49-F238E27FC236}">
                  <a16:creationId xmlns:a16="http://schemas.microsoft.com/office/drawing/2014/main" id="{158B4261-4399-E64F-A3E9-868CDE45C0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9431" y="4569689"/>
              <a:ext cx="38508" cy="38508"/>
            </a:xfrm>
            <a:custGeom>
              <a:avLst/>
              <a:gdLst>
                <a:gd name="T0" fmla="*/ 4 w 26"/>
                <a:gd name="T1" fmla="*/ 6 h 26"/>
                <a:gd name="T2" fmla="*/ 12 w 26"/>
                <a:gd name="T3" fmla="*/ 0 h 26"/>
                <a:gd name="T4" fmla="*/ 15 w 26"/>
                <a:gd name="T5" fmla="*/ 2 h 26"/>
                <a:gd name="T6" fmla="*/ 13 w 26"/>
                <a:gd name="T7" fmla="*/ 5 h 26"/>
                <a:gd name="T8" fmla="*/ 8 w 26"/>
                <a:gd name="T9" fmla="*/ 9 h 26"/>
                <a:gd name="T10" fmla="*/ 11 w 26"/>
                <a:gd name="T11" fmla="*/ 19 h 26"/>
                <a:gd name="T12" fmla="*/ 20 w 26"/>
                <a:gd name="T13" fmla="*/ 16 h 26"/>
                <a:gd name="T14" fmla="*/ 21 w 26"/>
                <a:gd name="T15" fmla="*/ 9 h 26"/>
                <a:gd name="T16" fmla="*/ 22 w 26"/>
                <a:gd name="T17" fmla="*/ 6 h 26"/>
                <a:gd name="T18" fmla="*/ 25 w 26"/>
                <a:gd name="T19" fmla="*/ 8 h 26"/>
                <a:gd name="T20" fmla="*/ 25 w 26"/>
                <a:gd name="T21" fmla="*/ 18 h 26"/>
                <a:gd name="T22" fmla="*/ 8 w 26"/>
                <a:gd name="T23" fmla="*/ 23 h 26"/>
                <a:gd name="T24" fmla="*/ 4 w 26"/>
                <a:gd name="T25" fmla="*/ 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6">
                  <a:moveTo>
                    <a:pt x="4" y="6"/>
                  </a:moveTo>
                  <a:cubicBezTo>
                    <a:pt x="5" y="3"/>
                    <a:pt x="8" y="1"/>
                    <a:pt x="12" y="0"/>
                  </a:cubicBezTo>
                  <a:cubicBezTo>
                    <a:pt x="13" y="0"/>
                    <a:pt x="14" y="1"/>
                    <a:pt x="15" y="2"/>
                  </a:cubicBezTo>
                  <a:cubicBezTo>
                    <a:pt x="15" y="3"/>
                    <a:pt x="14" y="5"/>
                    <a:pt x="13" y="5"/>
                  </a:cubicBezTo>
                  <a:cubicBezTo>
                    <a:pt x="11" y="5"/>
                    <a:pt x="9" y="7"/>
                    <a:pt x="8" y="9"/>
                  </a:cubicBezTo>
                  <a:cubicBezTo>
                    <a:pt x="6" y="12"/>
                    <a:pt x="7" y="17"/>
                    <a:pt x="11" y="19"/>
                  </a:cubicBezTo>
                  <a:cubicBezTo>
                    <a:pt x="14" y="20"/>
                    <a:pt x="19" y="19"/>
                    <a:pt x="20" y="16"/>
                  </a:cubicBezTo>
                  <a:cubicBezTo>
                    <a:pt x="22" y="14"/>
                    <a:pt x="22" y="11"/>
                    <a:pt x="21" y="9"/>
                  </a:cubicBezTo>
                  <a:cubicBezTo>
                    <a:pt x="20" y="8"/>
                    <a:pt x="21" y="7"/>
                    <a:pt x="22" y="6"/>
                  </a:cubicBezTo>
                  <a:cubicBezTo>
                    <a:pt x="23" y="6"/>
                    <a:pt x="25" y="6"/>
                    <a:pt x="25" y="8"/>
                  </a:cubicBezTo>
                  <a:cubicBezTo>
                    <a:pt x="26" y="11"/>
                    <a:pt x="26" y="15"/>
                    <a:pt x="25" y="18"/>
                  </a:cubicBezTo>
                  <a:cubicBezTo>
                    <a:pt x="21" y="24"/>
                    <a:pt x="14" y="26"/>
                    <a:pt x="8" y="23"/>
                  </a:cubicBezTo>
                  <a:cubicBezTo>
                    <a:pt x="2" y="19"/>
                    <a:pt x="0" y="12"/>
                    <a:pt x="4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353">
              <a:extLst>
                <a:ext uri="{FF2B5EF4-FFF2-40B4-BE49-F238E27FC236}">
                  <a16:creationId xmlns:a16="http://schemas.microsoft.com/office/drawing/2014/main" id="{81EDA1FB-7E58-8649-91C0-1E6354C69A05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5935" y="4569688"/>
              <a:ext cx="16504" cy="22005"/>
            </a:xfrm>
            <a:custGeom>
              <a:avLst/>
              <a:gdLst>
                <a:gd name="T0" fmla="*/ 1 w 11"/>
                <a:gd name="T1" fmla="*/ 12 h 15"/>
                <a:gd name="T2" fmla="*/ 6 w 11"/>
                <a:gd name="T3" fmla="*/ 2 h 15"/>
                <a:gd name="T4" fmla="*/ 9 w 11"/>
                <a:gd name="T5" fmla="*/ 1 h 15"/>
                <a:gd name="T6" fmla="*/ 10 w 11"/>
                <a:gd name="T7" fmla="*/ 4 h 15"/>
                <a:gd name="T8" fmla="*/ 5 w 11"/>
                <a:gd name="T9" fmla="*/ 14 h 15"/>
                <a:gd name="T10" fmla="*/ 2 w 11"/>
                <a:gd name="T11" fmla="*/ 15 h 15"/>
                <a:gd name="T12" fmla="*/ 1 w 11"/>
                <a:gd name="T13" fmla="*/ 1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5">
                  <a:moveTo>
                    <a:pt x="1" y="1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7" y="0"/>
                    <a:pt x="8" y="0"/>
                    <a:pt x="9" y="1"/>
                  </a:cubicBezTo>
                  <a:cubicBezTo>
                    <a:pt x="11" y="1"/>
                    <a:pt x="11" y="3"/>
                    <a:pt x="10" y="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4" y="15"/>
                    <a:pt x="3" y="15"/>
                    <a:pt x="2" y="15"/>
                  </a:cubicBezTo>
                  <a:cubicBezTo>
                    <a:pt x="1" y="14"/>
                    <a:pt x="0" y="13"/>
                    <a:pt x="1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354">
              <a:extLst>
                <a:ext uri="{FF2B5EF4-FFF2-40B4-BE49-F238E27FC236}">
                  <a16:creationId xmlns:a16="http://schemas.microsoft.com/office/drawing/2014/main" id="{09667015-0A05-0F4A-935B-2B3D7577F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4799" y="4447745"/>
              <a:ext cx="19255" cy="25672"/>
            </a:xfrm>
            <a:custGeom>
              <a:avLst/>
              <a:gdLst>
                <a:gd name="T0" fmla="*/ 0 w 13"/>
                <a:gd name="T1" fmla="*/ 16 h 17"/>
                <a:gd name="T2" fmla="*/ 7 w 13"/>
                <a:gd name="T3" fmla="*/ 4 h 17"/>
                <a:gd name="T4" fmla="*/ 2 w 13"/>
                <a:gd name="T5" fmla="*/ 4 h 17"/>
                <a:gd name="T6" fmla="*/ 4 w 13"/>
                <a:gd name="T7" fmla="*/ 1 h 17"/>
                <a:gd name="T8" fmla="*/ 11 w 13"/>
                <a:gd name="T9" fmla="*/ 0 h 17"/>
                <a:gd name="T10" fmla="*/ 13 w 13"/>
                <a:gd name="T11" fmla="*/ 1 h 17"/>
                <a:gd name="T12" fmla="*/ 3 w 13"/>
                <a:gd name="T13" fmla="*/ 17 h 17"/>
                <a:gd name="T14" fmla="*/ 0 w 13"/>
                <a:gd name="T15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7">
                  <a:moveTo>
                    <a:pt x="0" y="16"/>
                  </a:moveTo>
                  <a:cubicBezTo>
                    <a:pt x="7" y="4"/>
                    <a:pt x="7" y="4"/>
                    <a:pt x="7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7" y="1"/>
                    <a:pt x="9" y="1"/>
                    <a:pt x="11" y="0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3" y="17"/>
                    <a:pt x="3" y="17"/>
                    <a:pt x="3" y="17"/>
                  </a:cubicBezTo>
                  <a:lnTo>
                    <a:pt x="0" y="16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355">
              <a:extLst>
                <a:ext uri="{FF2B5EF4-FFF2-40B4-BE49-F238E27FC236}">
                  <a16:creationId xmlns:a16="http://schemas.microsoft.com/office/drawing/2014/main" id="{B990AE97-B8AD-C946-9E2B-C8AE25FF4C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6205" y="4524763"/>
              <a:ext cx="25672" cy="33007"/>
            </a:xfrm>
            <a:custGeom>
              <a:avLst/>
              <a:gdLst>
                <a:gd name="T0" fmla="*/ 0 w 17"/>
                <a:gd name="T1" fmla="*/ 16 h 22"/>
                <a:gd name="T2" fmla="*/ 0 w 17"/>
                <a:gd name="T3" fmla="*/ 15 h 22"/>
                <a:gd name="T4" fmla="*/ 10 w 17"/>
                <a:gd name="T5" fmla="*/ 10 h 22"/>
                <a:gd name="T6" fmla="*/ 13 w 17"/>
                <a:gd name="T7" fmla="*/ 7 h 22"/>
                <a:gd name="T8" fmla="*/ 12 w 17"/>
                <a:gd name="T9" fmla="*/ 4 h 22"/>
                <a:gd name="T10" fmla="*/ 8 w 17"/>
                <a:gd name="T11" fmla="*/ 4 h 22"/>
                <a:gd name="T12" fmla="*/ 7 w 17"/>
                <a:gd name="T13" fmla="*/ 2 h 22"/>
                <a:gd name="T14" fmla="*/ 10 w 17"/>
                <a:gd name="T15" fmla="*/ 1 h 22"/>
                <a:gd name="T16" fmla="*/ 13 w 17"/>
                <a:gd name="T17" fmla="*/ 1 h 22"/>
                <a:gd name="T18" fmla="*/ 17 w 17"/>
                <a:gd name="T19" fmla="*/ 5 h 22"/>
                <a:gd name="T20" fmla="*/ 16 w 17"/>
                <a:gd name="T21" fmla="*/ 9 h 22"/>
                <a:gd name="T22" fmla="*/ 12 w 17"/>
                <a:gd name="T23" fmla="*/ 12 h 22"/>
                <a:gd name="T24" fmla="*/ 6 w 17"/>
                <a:gd name="T25" fmla="*/ 16 h 22"/>
                <a:gd name="T26" fmla="*/ 12 w 17"/>
                <a:gd name="T27" fmla="*/ 19 h 22"/>
                <a:gd name="T28" fmla="*/ 11 w 17"/>
                <a:gd name="T29" fmla="*/ 22 h 22"/>
                <a:gd name="T30" fmla="*/ 0 w 17"/>
                <a:gd name="T31" fmla="*/ 1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7" h="22">
                  <a:moveTo>
                    <a:pt x="0" y="16"/>
                  </a:moveTo>
                  <a:cubicBezTo>
                    <a:pt x="0" y="15"/>
                    <a:pt x="0" y="15"/>
                    <a:pt x="0" y="15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2" y="9"/>
                    <a:pt x="13" y="8"/>
                    <a:pt x="13" y="7"/>
                  </a:cubicBezTo>
                  <a:cubicBezTo>
                    <a:pt x="14" y="6"/>
                    <a:pt x="14" y="5"/>
                    <a:pt x="12" y="4"/>
                  </a:cubicBezTo>
                  <a:cubicBezTo>
                    <a:pt x="11" y="3"/>
                    <a:pt x="10" y="3"/>
                    <a:pt x="8" y="4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8" y="1"/>
                    <a:pt x="9" y="1"/>
                    <a:pt x="10" y="1"/>
                  </a:cubicBezTo>
                  <a:cubicBezTo>
                    <a:pt x="11" y="0"/>
                    <a:pt x="12" y="1"/>
                    <a:pt x="13" y="1"/>
                  </a:cubicBezTo>
                  <a:cubicBezTo>
                    <a:pt x="15" y="2"/>
                    <a:pt x="16" y="3"/>
                    <a:pt x="17" y="5"/>
                  </a:cubicBezTo>
                  <a:cubicBezTo>
                    <a:pt x="17" y="6"/>
                    <a:pt x="17" y="7"/>
                    <a:pt x="16" y="9"/>
                  </a:cubicBezTo>
                  <a:cubicBezTo>
                    <a:pt x="16" y="10"/>
                    <a:pt x="14" y="11"/>
                    <a:pt x="12" y="12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1" y="22"/>
                    <a:pt x="11" y="22"/>
                    <a:pt x="11" y="22"/>
                  </a:cubicBezTo>
                  <a:lnTo>
                    <a:pt x="0" y="16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56">
              <a:extLst>
                <a:ext uri="{FF2B5EF4-FFF2-40B4-BE49-F238E27FC236}">
                  <a16:creationId xmlns:a16="http://schemas.microsoft.com/office/drawing/2014/main" id="{0E738862-C5DE-574F-9903-FD34AB1AD1B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0325" y="4508259"/>
              <a:ext cx="23839" cy="28423"/>
            </a:xfrm>
            <a:custGeom>
              <a:avLst/>
              <a:gdLst>
                <a:gd name="T0" fmla="*/ 0 w 16"/>
                <a:gd name="T1" fmla="*/ 14 h 19"/>
                <a:gd name="T2" fmla="*/ 2 w 16"/>
                <a:gd name="T3" fmla="*/ 12 h 19"/>
                <a:gd name="T4" fmla="*/ 5 w 16"/>
                <a:gd name="T5" fmla="*/ 15 h 19"/>
                <a:gd name="T6" fmla="*/ 9 w 16"/>
                <a:gd name="T7" fmla="*/ 14 h 19"/>
                <a:gd name="T8" fmla="*/ 9 w 16"/>
                <a:gd name="T9" fmla="*/ 12 h 19"/>
                <a:gd name="T10" fmla="*/ 7 w 16"/>
                <a:gd name="T11" fmla="*/ 10 h 19"/>
                <a:gd name="T12" fmla="*/ 7 w 16"/>
                <a:gd name="T13" fmla="*/ 10 h 19"/>
                <a:gd name="T14" fmla="*/ 8 w 16"/>
                <a:gd name="T15" fmla="*/ 7 h 19"/>
                <a:gd name="T16" fmla="*/ 8 w 16"/>
                <a:gd name="T17" fmla="*/ 7 h 19"/>
                <a:gd name="T18" fmla="*/ 12 w 16"/>
                <a:gd name="T19" fmla="*/ 7 h 19"/>
                <a:gd name="T20" fmla="*/ 11 w 16"/>
                <a:gd name="T21" fmla="*/ 3 h 19"/>
                <a:gd name="T22" fmla="*/ 8 w 16"/>
                <a:gd name="T23" fmla="*/ 3 h 19"/>
                <a:gd name="T24" fmla="*/ 8 w 16"/>
                <a:gd name="T25" fmla="*/ 0 h 19"/>
                <a:gd name="T26" fmla="*/ 10 w 16"/>
                <a:gd name="T27" fmla="*/ 0 h 19"/>
                <a:gd name="T28" fmla="*/ 13 w 16"/>
                <a:gd name="T29" fmla="*/ 1 h 19"/>
                <a:gd name="T30" fmla="*/ 16 w 16"/>
                <a:gd name="T31" fmla="*/ 4 h 19"/>
                <a:gd name="T32" fmla="*/ 15 w 16"/>
                <a:gd name="T33" fmla="*/ 8 h 19"/>
                <a:gd name="T34" fmla="*/ 11 w 16"/>
                <a:gd name="T35" fmla="*/ 11 h 19"/>
                <a:gd name="T36" fmla="*/ 12 w 16"/>
                <a:gd name="T37" fmla="*/ 16 h 19"/>
                <a:gd name="T38" fmla="*/ 8 w 16"/>
                <a:gd name="T39" fmla="*/ 19 h 19"/>
                <a:gd name="T40" fmla="*/ 3 w 16"/>
                <a:gd name="T41" fmla="*/ 18 h 19"/>
                <a:gd name="T42" fmla="*/ 0 w 16"/>
                <a:gd name="T43" fmla="*/ 1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" h="19">
                  <a:moveTo>
                    <a:pt x="0" y="14"/>
                  </a:moveTo>
                  <a:cubicBezTo>
                    <a:pt x="2" y="12"/>
                    <a:pt x="2" y="12"/>
                    <a:pt x="2" y="12"/>
                  </a:cubicBezTo>
                  <a:cubicBezTo>
                    <a:pt x="3" y="14"/>
                    <a:pt x="3" y="15"/>
                    <a:pt x="5" y="15"/>
                  </a:cubicBezTo>
                  <a:cubicBezTo>
                    <a:pt x="6" y="16"/>
                    <a:pt x="8" y="16"/>
                    <a:pt x="9" y="14"/>
                  </a:cubicBezTo>
                  <a:cubicBezTo>
                    <a:pt x="9" y="13"/>
                    <a:pt x="9" y="13"/>
                    <a:pt x="9" y="12"/>
                  </a:cubicBezTo>
                  <a:cubicBezTo>
                    <a:pt x="9" y="11"/>
                    <a:pt x="8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10" y="8"/>
                    <a:pt x="11" y="8"/>
                    <a:pt x="12" y="7"/>
                  </a:cubicBezTo>
                  <a:cubicBezTo>
                    <a:pt x="13" y="5"/>
                    <a:pt x="13" y="4"/>
                    <a:pt x="11" y="3"/>
                  </a:cubicBezTo>
                  <a:cubicBezTo>
                    <a:pt x="10" y="3"/>
                    <a:pt x="9" y="3"/>
                    <a:pt x="8" y="3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9" y="0"/>
                    <a:pt x="10" y="0"/>
                  </a:cubicBezTo>
                  <a:cubicBezTo>
                    <a:pt x="11" y="0"/>
                    <a:pt x="12" y="0"/>
                    <a:pt x="13" y="1"/>
                  </a:cubicBezTo>
                  <a:cubicBezTo>
                    <a:pt x="14" y="2"/>
                    <a:pt x="15" y="3"/>
                    <a:pt x="16" y="4"/>
                  </a:cubicBezTo>
                  <a:cubicBezTo>
                    <a:pt x="16" y="5"/>
                    <a:pt x="16" y="7"/>
                    <a:pt x="15" y="8"/>
                  </a:cubicBezTo>
                  <a:cubicBezTo>
                    <a:pt x="15" y="10"/>
                    <a:pt x="13" y="10"/>
                    <a:pt x="11" y="11"/>
                  </a:cubicBezTo>
                  <a:cubicBezTo>
                    <a:pt x="13" y="12"/>
                    <a:pt x="13" y="14"/>
                    <a:pt x="12" y="16"/>
                  </a:cubicBezTo>
                  <a:cubicBezTo>
                    <a:pt x="11" y="18"/>
                    <a:pt x="10" y="19"/>
                    <a:pt x="8" y="19"/>
                  </a:cubicBezTo>
                  <a:cubicBezTo>
                    <a:pt x="7" y="19"/>
                    <a:pt x="5" y="19"/>
                    <a:pt x="3" y="18"/>
                  </a:cubicBezTo>
                  <a:cubicBezTo>
                    <a:pt x="1" y="17"/>
                    <a:pt x="0" y="16"/>
                    <a:pt x="0" y="14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357">
              <a:extLst>
                <a:ext uri="{FF2B5EF4-FFF2-40B4-BE49-F238E27FC236}">
                  <a16:creationId xmlns:a16="http://schemas.microsoft.com/office/drawing/2014/main" id="{F0DAECD7-61D2-BD47-B8AD-9E1D1D0C8F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73564" y="4591693"/>
              <a:ext cx="26589" cy="27507"/>
            </a:xfrm>
            <a:custGeom>
              <a:avLst/>
              <a:gdLst>
                <a:gd name="T0" fmla="*/ 18 w 29"/>
                <a:gd name="T1" fmla="*/ 21 h 30"/>
                <a:gd name="T2" fmla="*/ 15 w 29"/>
                <a:gd name="T3" fmla="*/ 30 h 30"/>
                <a:gd name="T4" fmla="*/ 10 w 29"/>
                <a:gd name="T5" fmla="*/ 26 h 30"/>
                <a:gd name="T6" fmla="*/ 13 w 29"/>
                <a:gd name="T7" fmla="*/ 20 h 30"/>
                <a:gd name="T8" fmla="*/ 0 w 29"/>
                <a:gd name="T9" fmla="*/ 13 h 30"/>
                <a:gd name="T10" fmla="*/ 1 w 29"/>
                <a:gd name="T11" fmla="*/ 10 h 30"/>
                <a:gd name="T12" fmla="*/ 26 w 29"/>
                <a:gd name="T13" fmla="*/ 0 h 30"/>
                <a:gd name="T14" fmla="*/ 29 w 29"/>
                <a:gd name="T15" fmla="*/ 2 h 30"/>
                <a:gd name="T16" fmla="*/ 19 w 29"/>
                <a:gd name="T17" fmla="*/ 18 h 30"/>
                <a:gd name="T18" fmla="*/ 23 w 29"/>
                <a:gd name="T19" fmla="*/ 20 h 30"/>
                <a:gd name="T20" fmla="*/ 21 w 29"/>
                <a:gd name="T21" fmla="*/ 23 h 30"/>
                <a:gd name="T22" fmla="*/ 18 w 29"/>
                <a:gd name="T23" fmla="*/ 21 h 30"/>
                <a:gd name="T24" fmla="*/ 19 w 29"/>
                <a:gd name="T25" fmla="*/ 8 h 30"/>
                <a:gd name="T26" fmla="*/ 8 w 29"/>
                <a:gd name="T27" fmla="*/ 12 h 30"/>
                <a:gd name="T28" fmla="*/ 15 w 29"/>
                <a:gd name="T29" fmla="*/ 17 h 30"/>
                <a:gd name="T30" fmla="*/ 19 w 29"/>
                <a:gd name="T31" fmla="*/ 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9" h="30">
                  <a:moveTo>
                    <a:pt x="18" y="21"/>
                  </a:moveTo>
                  <a:lnTo>
                    <a:pt x="15" y="30"/>
                  </a:lnTo>
                  <a:lnTo>
                    <a:pt x="10" y="26"/>
                  </a:lnTo>
                  <a:lnTo>
                    <a:pt x="13" y="20"/>
                  </a:lnTo>
                  <a:lnTo>
                    <a:pt x="0" y="13"/>
                  </a:lnTo>
                  <a:lnTo>
                    <a:pt x="1" y="10"/>
                  </a:lnTo>
                  <a:lnTo>
                    <a:pt x="26" y="0"/>
                  </a:lnTo>
                  <a:lnTo>
                    <a:pt x="29" y="2"/>
                  </a:lnTo>
                  <a:lnTo>
                    <a:pt x="19" y="18"/>
                  </a:lnTo>
                  <a:lnTo>
                    <a:pt x="23" y="20"/>
                  </a:lnTo>
                  <a:lnTo>
                    <a:pt x="21" y="23"/>
                  </a:lnTo>
                  <a:lnTo>
                    <a:pt x="18" y="21"/>
                  </a:lnTo>
                  <a:close/>
                  <a:moveTo>
                    <a:pt x="19" y="8"/>
                  </a:moveTo>
                  <a:lnTo>
                    <a:pt x="8" y="12"/>
                  </a:lnTo>
                  <a:lnTo>
                    <a:pt x="15" y="17"/>
                  </a:lnTo>
                  <a:lnTo>
                    <a:pt x="19" y="8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0" name="Group 45">
            <a:extLst>
              <a:ext uri="{FF2B5EF4-FFF2-40B4-BE49-F238E27FC236}">
                <a16:creationId xmlns:a16="http://schemas.microsoft.com/office/drawing/2014/main" id="{7E45401B-4BC2-BA40-955C-BCD0E9F95931}"/>
              </a:ext>
            </a:extLst>
          </p:cNvPr>
          <p:cNvGrpSpPr/>
          <p:nvPr/>
        </p:nvGrpSpPr>
        <p:grpSpPr>
          <a:xfrm>
            <a:off x="514781" y="4226860"/>
            <a:ext cx="650974" cy="554703"/>
            <a:chOff x="4186668" y="4298298"/>
            <a:chExt cx="650974" cy="554703"/>
          </a:xfrm>
        </p:grpSpPr>
        <p:sp>
          <p:nvSpPr>
            <p:cNvPr id="51" name="Freeform 358">
              <a:extLst>
                <a:ext uri="{FF2B5EF4-FFF2-40B4-BE49-F238E27FC236}">
                  <a16:creationId xmlns:a16="http://schemas.microsoft.com/office/drawing/2014/main" id="{CA47052E-194C-9344-B9CC-00A1308580A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6839" y="4345973"/>
              <a:ext cx="630803" cy="507027"/>
            </a:xfrm>
            <a:custGeom>
              <a:avLst/>
              <a:gdLst>
                <a:gd name="T0" fmla="*/ 688 w 688"/>
                <a:gd name="T1" fmla="*/ 291 h 553"/>
                <a:gd name="T2" fmla="*/ 137 w 688"/>
                <a:gd name="T3" fmla="*/ 553 h 553"/>
                <a:gd name="T4" fmla="*/ 0 w 688"/>
                <a:gd name="T5" fmla="*/ 262 h 553"/>
                <a:gd name="T6" fmla="*/ 551 w 688"/>
                <a:gd name="T7" fmla="*/ 0 h 553"/>
                <a:gd name="T8" fmla="*/ 688 w 688"/>
                <a:gd name="T9" fmla="*/ 291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8" h="553">
                  <a:moveTo>
                    <a:pt x="688" y="291"/>
                  </a:moveTo>
                  <a:lnTo>
                    <a:pt x="137" y="553"/>
                  </a:lnTo>
                  <a:lnTo>
                    <a:pt x="0" y="262"/>
                  </a:lnTo>
                  <a:lnTo>
                    <a:pt x="551" y="0"/>
                  </a:lnTo>
                  <a:lnTo>
                    <a:pt x="688" y="291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359">
              <a:extLst>
                <a:ext uri="{FF2B5EF4-FFF2-40B4-BE49-F238E27FC236}">
                  <a16:creationId xmlns:a16="http://schemas.microsoft.com/office/drawing/2014/main" id="{F5A775DD-2F10-B846-BC37-0FE369109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6839" y="4586194"/>
              <a:ext cx="314484" cy="266807"/>
            </a:xfrm>
            <a:custGeom>
              <a:avLst/>
              <a:gdLst>
                <a:gd name="T0" fmla="*/ 0 w 343"/>
                <a:gd name="T1" fmla="*/ 0 h 291"/>
                <a:gd name="T2" fmla="*/ 343 w 343"/>
                <a:gd name="T3" fmla="*/ 14 h 291"/>
                <a:gd name="T4" fmla="*/ 137 w 343"/>
                <a:gd name="T5" fmla="*/ 291 h 291"/>
                <a:gd name="T6" fmla="*/ 0 w 343"/>
                <a:gd name="T7" fmla="*/ 0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3" h="291">
                  <a:moveTo>
                    <a:pt x="0" y="0"/>
                  </a:moveTo>
                  <a:lnTo>
                    <a:pt x="343" y="14"/>
                  </a:lnTo>
                  <a:lnTo>
                    <a:pt x="137" y="29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60">
              <a:extLst>
                <a:ext uri="{FF2B5EF4-FFF2-40B4-BE49-F238E27FC236}">
                  <a16:creationId xmlns:a16="http://schemas.microsoft.com/office/drawing/2014/main" id="{147E1AD8-7FF8-9C4C-8882-4A432B6091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1322" y="4345974"/>
              <a:ext cx="316319" cy="266807"/>
            </a:xfrm>
            <a:custGeom>
              <a:avLst/>
              <a:gdLst>
                <a:gd name="T0" fmla="*/ 208 w 345"/>
                <a:gd name="T1" fmla="*/ 0 h 291"/>
                <a:gd name="T2" fmla="*/ 0 w 345"/>
                <a:gd name="T3" fmla="*/ 276 h 291"/>
                <a:gd name="T4" fmla="*/ 345 w 345"/>
                <a:gd name="T5" fmla="*/ 291 h 291"/>
                <a:gd name="T6" fmla="*/ 208 w 345"/>
                <a:gd name="T7" fmla="*/ 0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291">
                  <a:moveTo>
                    <a:pt x="208" y="0"/>
                  </a:moveTo>
                  <a:lnTo>
                    <a:pt x="0" y="276"/>
                  </a:lnTo>
                  <a:lnTo>
                    <a:pt x="345" y="291"/>
                  </a:lnTo>
                  <a:lnTo>
                    <a:pt x="208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61">
              <a:extLst>
                <a:ext uri="{FF2B5EF4-FFF2-40B4-BE49-F238E27FC236}">
                  <a16:creationId xmlns:a16="http://schemas.microsoft.com/office/drawing/2014/main" id="{2CEBAC39-3E4B-CA4C-9403-AC8D4234B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6839" y="4298298"/>
              <a:ext cx="505192" cy="287895"/>
            </a:xfrm>
            <a:custGeom>
              <a:avLst/>
              <a:gdLst>
                <a:gd name="T0" fmla="*/ 0 w 551"/>
                <a:gd name="T1" fmla="*/ 314 h 314"/>
                <a:gd name="T2" fmla="*/ 188 w 551"/>
                <a:gd name="T3" fmla="*/ 0 h 314"/>
                <a:gd name="T4" fmla="*/ 551 w 551"/>
                <a:gd name="T5" fmla="*/ 52 h 314"/>
                <a:gd name="T6" fmla="*/ 0 w 551"/>
                <a:gd name="T7" fmla="*/ 31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1" h="314">
                  <a:moveTo>
                    <a:pt x="0" y="314"/>
                  </a:moveTo>
                  <a:lnTo>
                    <a:pt x="188" y="0"/>
                  </a:lnTo>
                  <a:lnTo>
                    <a:pt x="551" y="52"/>
                  </a:lnTo>
                  <a:lnTo>
                    <a:pt x="0" y="31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62">
              <a:extLst>
                <a:ext uri="{FF2B5EF4-FFF2-40B4-BE49-F238E27FC236}">
                  <a16:creationId xmlns:a16="http://schemas.microsoft.com/office/drawing/2014/main" id="{ABD45728-BBD3-0D4F-88E8-16AE30A7989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6668" y="4305632"/>
              <a:ext cx="525363" cy="293397"/>
            </a:xfrm>
            <a:custGeom>
              <a:avLst/>
              <a:gdLst>
                <a:gd name="T0" fmla="*/ 22 w 573"/>
                <a:gd name="T1" fmla="*/ 306 h 320"/>
                <a:gd name="T2" fmla="*/ 0 w 573"/>
                <a:gd name="T3" fmla="*/ 261 h 320"/>
                <a:gd name="T4" fmla="*/ 551 w 573"/>
                <a:gd name="T5" fmla="*/ 0 h 320"/>
                <a:gd name="T6" fmla="*/ 573 w 573"/>
                <a:gd name="T7" fmla="*/ 44 h 320"/>
                <a:gd name="T8" fmla="*/ 365 w 573"/>
                <a:gd name="T9" fmla="*/ 320 h 320"/>
                <a:gd name="T10" fmla="*/ 22 w 573"/>
                <a:gd name="T11" fmla="*/ 30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3" h="320">
                  <a:moveTo>
                    <a:pt x="22" y="306"/>
                  </a:moveTo>
                  <a:lnTo>
                    <a:pt x="0" y="261"/>
                  </a:lnTo>
                  <a:lnTo>
                    <a:pt x="551" y="0"/>
                  </a:lnTo>
                  <a:lnTo>
                    <a:pt x="573" y="44"/>
                  </a:lnTo>
                  <a:lnTo>
                    <a:pt x="365" y="320"/>
                  </a:lnTo>
                  <a:lnTo>
                    <a:pt x="22" y="30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63">
              <a:extLst>
                <a:ext uri="{FF2B5EF4-FFF2-40B4-BE49-F238E27FC236}">
                  <a16:creationId xmlns:a16="http://schemas.microsoft.com/office/drawing/2014/main" id="{A942A6C6-5B5E-2E49-BBA5-60B1C1A77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6777" y="4390901"/>
              <a:ext cx="306233" cy="155867"/>
            </a:xfrm>
            <a:custGeom>
              <a:avLst/>
              <a:gdLst>
                <a:gd name="T0" fmla="*/ 199 w 204"/>
                <a:gd name="T1" fmla="*/ 13 h 104"/>
                <a:gd name="T2" fmla="*/ 11 w 204"/>
                <a:gd name="T3" fmla="*/ 103 h 104"/>
                <a:gd name="T4" fmla="*/ 2 w 204"/>
                <a:gd name="T5" fmla="*/ 100 h 104"/>
                <a:gd name="T6" fmla="*/ 5 w 204"/>
                <a:gd name="T7" fmla="*/ 91 h 104"/>
                <a:gd name="T8" fmla="*/ 194 w 204"/>
                <a:gd name="T9" fmla="*/ 1 h 104"/>
                <a:gd name="T10" fmla="*/ 203 w 204"/>
                <a:gd name="T11" fmla="*/ 4 h 104"/>
                <a:gd name="T12" fmla="*/ 199 w 204"/>
                <a:gd name="T13" fmla="*/ 13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4" h="104">
                  <a:moveTo>
                    <a:pt x="199" y="13"/>
                  </a:moveTo>
                  <a:cubicBezTo>
                    <a:pt x="11" y="103"/>
                    <a:pt x="11" y="103"/>
                    <a:pt x="11" y="103"/>
                  </a:cubicBezTo>
                  <a:cubicBezTo>
                    <a:pt x="7" y="104"/>
                    <a:pt x="3" y="103"/>
                    <a:pt x="2" y="100"/>
                  </a:cubicBezTo>
                  <a:cubicBezTo>
                    <a:pt x="0" y="96"/>
                    <a:pt x="1" y="92"/>
                    <a:pt x="5" y="91"/>
                  </a:cubicBezTo>
                  <a:cubicBezTo>
                    <a:pt x="194" y="1"/>
                    <a:pt x="194" y="1"/>
                    <a:pt x="194" y="1"/>
                  </a:cubicBezTo>
                  <a:cubicBezTo>
                    <a:pt x="197" y="0"/>
                    <a:pt x="201" y="1"/>
                    <a:pt x="203" y="4"/>
                  </a:cubicBezTo>
                  <a:cubicBezTo>
                    <a:pt x="204" y="8"/>
                    <a:pt x="203" y="12"/>
                    <a:pt x="199" y="13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364">
              <a:extLst>
                <a:ext uri="{FF2B5EF4-FFF2-40B4-BE49-F238E27FC236}">
                  <a16:creationId xmlns:a16="http://schemas.microsoft.com/office/drawing/2014/main" id="{335C7781-02AF-B641-AE55-CA3C88EBA46F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5115" y="4426658"/>
              <a:ext cx="305316" cy="157701"/>
            </a:xfrm>
            <a:custGeom>
              <a:avLst/>
              <a:gdLst>
                <a:gd name="T0" fmla="*/ 199 w 204"/>
                <a:gd name="T1" fmla="*/ 14 h 105"/>
                <a:gd name="T2" fmla="*/ 10 w 204"/>
                <a:gd name="T3" fmla="*/ 104 h 105"/>
                <a:gd name="T4" fmla="*/ 1 w 204"/>
                <a:gd name="T5" fmla="*/ 101 h 105"/>
                <a:gd name="T6" fmla="*/ 1 w 204"/>
                <a:gd name="T7" fmla="*/ 101 h 105"/>
                <a:gd name="T8" fmla="*/ 5 w 204"/>
                <a:gd name="T9" fmla="*/ 92 h 105"/>
                <a:gd name="T10" fmla="*/ 193 w 204"/>
                <a:gd name="T11" fmla="*/ 2 h 105"/>
                <a:gd name="T12" fmla="*/ 202 w 204"/>
                <a:gd name="T13" fmla="*/ 5 h 105"/>
                <a:gd name="T14" fmla="*/ 199 w 204"/>
                <a:gd name="T15" fmla="*/ 14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4" h="105">
                  <a:moveTo>
                    <a:pt x="199" y="14"/>
                  </a:moveTo>
                  <a:cubicBezTo>
                    <a:pt x="10" y="104"/>
                    <a:pt x="10" y="104"/>
                    <a:pt x="10" y="104"/>
                  </a:cubicBezTo>
                  <a:cubicBezTo>
                    <a:pt x="7" y="105"/>
                    <a:pt x="3" y="104"/>
                    <a:pt x="1" y="101"/>
                  </a:cubicBezTo>
                  <a:cubicBezTo>
                    <a:pt x="1" y="101"/>
                    <a:pt x="1" y="101"/>
                    <a:pt x="1" y="101"/>
                  </a:cubicBezTo>
                  <a:cubicBezTo>
                    <a:pt x="0" y="97"/>
                    <a:pt x="1" y="93"/>
                    <a:pt x="5" y="92"/>
                  </a:cubicBezTo>
                  <a:cubicBezTo>
                    <a:pt x="193" y="2"/>
                    <a:pt x="193" y="2"/>
                    <a:pt x="193" y="2"/>
                  </a:cubicBezTo>
                  <a:cubicBezTo>
                    <a:pt x="197" y="0"/>
                    <a:pt x="201" y="2"/>
                    <a:pt x="202" y="5"/>
                  </a:cubicBezTo>
                  <a:cubicBezTo>
                    <a:pt x="204" y="9"/>
                    <a:pt x="203" y="13"/>
                    <a:pt x="199" y="14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8" name="Group 53">
            <a:extLst>
              <a:ext uri="{FF2B5EF4-FFF2-40B4-BE49-F238E27FC236}">
                <a16:creationId xmlns:a16="http://schemas.microsoft.com/office/drawing/2014/main" id="{2AF4F6E5-DD29-C04D-A58A-D16C445C7495}"/>
              </a:ext>
            </a:extLst>
          </p:cNvPr>
          <p:cNvGrpSpPr/>
          <p:nvPr/>
        </p:nvGrpSpPr>
        <p:grpSpPr>
          <a:xfrm>
            <a:off x="3166236" y="3641455"/>
            <a:ext cx="601650" cy="601650"/>
            <a:chOff x="6838123" y="3712893"/>
            <a:chExt cx="601650" cy="601650"/>
          </a:xfrm>
        </p:grpSpPr>
        <p:sp>
          <p:nvSpPr>
            <p:cNvPr id="59" name="Oval 54">
              <a:extLst>
                <a:ext uri="{FF2B5EF4-FFF2-40B4-BE49-F238E27FC236}">
                  <a16:creationId xmlns:a16="http://schemas.microsoft.com/office/drawing/2014/main" id="{B5248891-D6CA-6E4C-8FCF-4D1E350691B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838123" y="3712893"/>
              <a:ext cx="601650" cy="60165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Freeform 55">
              <a:extLst>
                <a:ext uri="{FF2B5EF4-FFF2-40B4-BE49-F238E27FC236}">
                  <a16:creationId xmlns:a16="http://schemas.microsoft.com/office/drawing/2014/main" id="{E00A22D5-FEFC-CE4B-B5DE-A2CEE86C8DD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138971" y="3714858"/>
              <a:ext cx="291634" cy="300128"/>
            </a:xfrm>
            <a:custGeom>
              <a:avLst/>
              <a:gdLst>
                <a:gd name="connsiteX0" fmla="*/ 19472 w 291634"/>
                <a:gd name="connsiteY0" fmla="*/ 0 h 300128"/>
                <a:gd name="connsiteX1" fmla="*/ 60604 w 291634"/>
                <a:gd name="connsiteY1" fmla="*/ 4147 h 300128"/>
                <a:gd name="connsiteX2" fmla="*/ 277162 w 291634"/>
                <a:gd name="connsiteY2" fmla="*/ 181765 h 300128"/>
                <a:gd name="connsiteX3" fmla="*/ 291634 w 291634"/>
                <a:gd name="connsiteY3" fmla="*/ 228386 h 300128"/>
                <a:gd name="connsiteX4" fmla="*/ 0 w 291634"/>
                <a:gd name="connsiteY4" fmla="*/ 300128 h 300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1634" h="300128">
                  <a:moveTo>
                    <a:pt x="19472" y="0"/>
                  </a:moveTo>
                  <a:lnTo>
                    <a:pt x="60604" y="4147"/>
                  </a:lnTo>
                  <a:cubicBezTo>
                    <a:pt x="158519" y="24183"/>
                    <a:pt x="239105" y="91790"/>
                    <a:pt x="277162" y="181765"/>
                  </a:cubicBezTo>
                  <a:lnTo>
                    <a:pt x="291634" y="228386"/>
                  </a:lnTo>
                  <a:lnTo>
                    <a:pt x="0" y="30012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Freeform 56">
              <a:extLst>
                <a:ext uri="{FF2B5EF4-FFF2-40B4-BE49-F238E27FC236}">
                  <a16:creationId xmlns:a16="http://schemas.microsoft.com/office/drawing/2014/main" id="{91BC3B1A-9B6A-F346-B46A-ECCDA263151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138971" y="3943247"/>
              <a:ext cx="300802" cy="157789"/>
            </a:xfrm>
            <a:custGeom>
              <a:avLst/>
              <a:gdLst>
                <a:gd name="connsiteX0" fmla="*/ 291634 w 300802"/>
                <a:gd name="connsiteY0" fmla="*/ 0 h 157789"/>
                <a:gd name="connsiteX1" fmla="*/ 294691 w 300802"/>
                <a:gd name="connsiteY1" fmla="*/ 9845 h 157789"/>
                <a:gd name="connsiteX2" fmla="*/ 300802 w 300802"/>
                <a:gd name="connsiteY2" fmla="*/ 70472 h 157789"/>
                <a:gd name="connsiteX3" fmla="*/ 294691 w 300802"/>
                <a:gd name="connsiteY3" fmla="*/ 131099 h 157789"/>
                <a:gd name="connsiteX4" fmla="*/ 286405 w 300802"/>
                <a:gd name="connsiteY4" fmla="*/ 157789 h 157789"/>
                <a:gd name="connsiteX5" fmla="*/ 0 w 300802"/>
                <a:gd name="connsiteY5" fmla="*/ 71742 h 157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0802" h="157789">
                  <a:moveTo>
                    <a:pt x="291634" y="0"/>
                  </a:moveTo>
                  <a:lnTo>
                    <a:pt x="294691" y="9845"/>
                  </a:lnTo>
                  <a:cubicBezTo>
                    <a:pt x="298698" y="29428"/>
                    <a:pt x="300802" y="49705"/>
                    <a:pt x="300802" y="70472"/>
                  </a:cubicBezTo>
                  <a:cubicBezTo>
                    <a:pt x="300802" y="91240"/>
                    <a:pt x="298698" y="111516"/>
                    <a:pt x="294691" y="131099"/>
                  </a:cubicBezTo>
                  <a:lnTo>
                    <a:pt x="286405" y="157789"/>
                  </a:lnTo>
                  <a:lnTo>
                    <a:pt x="0" y="71742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Freeform 57">
              <a:extLst>
                <a:ext uri="{FF2B5EF4-FFF2-40B4-BE49-F238E27FC236}">
                  <a16:creationId xmlns:a16="http://schemas.microsoft.com/office/drawing/2014/main" id="{266AC128-A3E7-4B4A-83E0-BE93E53B278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138971" y="4014987"/>
              <a:ext cx="287254" cy="259487"/>
            </a:xfrm>
            <a:custGeom>
              <a:avLst/>
              <a:gdLst>
                <a:gd name="connsiteX0" fmla="*/ 0 w 287254"/>
                <a:gd name="connsiteY0" fmla="*/ 0 h 259487"/>
                <a:gd name="connsiteX1" fmla="*/ 287254 w 287254"/>
                <a:gd name="connsiteY1" fmla="*/ 83316 h 259487"/>
                <a:gd name="connsiteX2" fmla="*/ 277162 w 287254"/>
                <a:gd name="connsiteY2" fmla="*/ 115827 h 259487"/>
                <a:gd name="connsiteX3" fmla="*/ 168171 w 287254"/>
                <a:gd name="connsiteY3" fmla="*/ 248181 h 259487"/>
                <a:gd name="connsiteX4" fmla="*/ 147341 w 287254"/>
                <a:gd name="connsiteY4" fmla="*/ 259487 h 259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7254" h="259487">
                  <a:moveTo>
                    <a:pt x="0" y="0"/>
                  </a:moveTo>
                  <a:lnTo>
                    <a:pt x="287254" y="83316"/>
                  </a:lnTo>
                  <a:lnTo>
                    <a:pt x="277162" y="115827"/>
                  </a:lnTo>
                  <a:cubicBezTo>
                    <a:pt x="254328" y="169812"/>
                    <a:pt x="216183" y="215745"/>
                    <a:pt x="168171" y="248181"/>
                  </a:cubicBezTo>
                  <a:lnTo>
                    <a:pt x="147341" y="259487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" name="Freeform 58">
              <a:extLst>
                <a:ext uri="{FF2B5EF4-FFF2-40B4-BE49-F238E27FC236}">
                  <a16:creationId xmlns:a16="http://schemas.microsoft.com/office/drawing/2014/main" id="{51317890-AE9A-B044-A486-B0A74F33CE9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73517" y="3712894"/>
              <a:ext cx="184926" cy="302093"/>
            </a:xfrm>
            <a:custGeom>
              <a:avLst/>
              <a:gdLst>
                <a:gd name="connsiteX0" fmla="*/ 165431 w 184926"/>
                <a:gd name="connsiteY0" fmla="*/ 0 h 302093"/>
                <a:gd name="connsiteX1" fmla="*/ 184926 w 184926"/>
                <a:gd name="connsiteY1" fmla="*/ 1965 h 302093"/>
                <a:gd name="connsiteX2" fmla="*/ 165454 w 184926"/>
                <a:gd name="connsiteY2" fmla="*/ 302093 h 302093"/>
                <a:gd name="connsiteX3" fmla="*/ 0 w 184926"/>
                <a:gd name="connsiteY3" fmla="*/ 49877 h 302093"/>
                <a:gd name="connsiteX4" fmla="*/ 48337 w 184926"/>
                <a:gd name="connsiteY4" fmla="*/ 23640 h 302093"/>
                <a:gd name="connsiteX5" fmla="*/ 165431 w 184926"/>
                <a:gd name="connsiteY5" fmla="*/ 0 h 302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4926" h="302093">
                  <a:moveTo>
                    <a:pt x="165431" y="0"/>
                  </a:moveTo>
                  <a:lnTo>
                    <a:pt x="184926" y="1965"/>
                  </a:lnTo>
                  <a:lnTo>
                    <a:pt x="165454" y="302093"/>
                  </a:lnTo>
                  <a:lnTo>
                    <a:pt x="0" y="49877"/>
                  </a:lnTo>
                  <a:lnTo>
                    <a:pt x="48337" y="23640"/>
                  </a:lnTo>
                  <a:cubicBezTo>
                    <a:pt x="84327" y="8418"/>
                    <a:pt x="123896" y="0"/>
                    <a:pt x="165431" y="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" name="Freeform 59">
              <a:extLst>
                <a:ext uri="{FF2B5EF4-FFF2-40B4-BE49-F238E27FC236}">
                  <a16:creationId xmlns:a16="http://schemas.microsoft.com/office/drawing/2014/main" id="{CA1898F1-7080-7549-86FF-92EFB191C34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077781" y="4010401"/>
              <a:ext cx="209464" cy="304142"/>
            </a:xfrm>
            <a:custGeom>
              <a:avLst/>
              <a:gdLst>
                <a:gd name="connsiteX0" fmla="*/ 62106 w 209464"/>
                <a:gd name="connsiteY0" fmla="*/ 0 h 304142"/>
                <a:gd name="connsiteX1" fmla="*/ 209464 w 209464"/>
                <a:gd name="connsiteY1" fmla="*/ 263566 h 304142"/>
                <a:gd name="connsiteX2" fmla="*/ 178262 w 209464"/>
                <a:gd name="connsiteY2" fmla="*/ 280502 h 304142"/>
                <a:gd name="connsiteX3" fmla="*/ 61167 w 209464"/>
                <a:gd name="connsiteY3" fmla="*/ 304142 h 304142"/>
                <a:gd name="connsiteX4" fmla="*/ 541 w 209464"/>
                <a:gd name="connsiteY4" fmla="*/ 298030 h 304142"/>
                <a:gd name="connsiteX5" fmla="*/ 0 w 209464"/>
                <a:gd name="connsiteY5" fmla="*/ 297863 h 304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464" h="304142">
                  <a:moveTo>
                    <a:pt x="62106" y="0"/>
                  </a:moveTo>
                  <a:lnTo>
                    <a:pt x="209464" y="263566"/>
                  </a:lnTo>
                  <a:lnTo>
                    <a:pt x="178262" y="280502"/>
                  </a:lnTo>
                  <a:cubicBezTo>
                    <a:pt x="142272" y="295724"/>
                    <a:pt x="102702" y="304142"/>
                    <a:pt x="61167" y="304142"/>
                  </a:cubicBezTo>
                  <a:cubicBezTo>
                    <a:pt x="40400" y="304142"/>
                    <a:pt x="20124" y="302038"/>
                    <a:pt x="541" y="298030"/>
                  </a:cubicBezTo>
                  <a:lnTo>
                    <a:pt x="0" y="297863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5" name="Group 60">
            <a:extLst>
              <a:ext uri="{FF2B5EF4-FFF2-40B4-BE49-F238E27FC236}">
                <a16:creationId xmlns:a16="http://schemas.microsoft.com/office/drawing/2014/main" id="{7364B404-7BD9-F04F-B7F9-A1204CFD3E8D}"/>
              </a:ext>
            </a:extLst>
          </p:cNvPr>
          <p:cNvGrpSpPr/>
          <p:nvPr/>
        </p:nvGrpSpPr>
        <p:grpSpPr>
          <a:xfrm>
            <a:off x="1101573" y="4094831"/>
            <a:ext cx="2563554" cy="2551633"/>
            <a:chOff x="4773460" y="4166269"/>
            <a:chExt cx="2563554" cy="2551633"/>
          </a:xfrm>
        </p:grpSpPr>
        <p:sp>
          <p:nvSpPr>
            <p:cNvPr id="66" name="Oval 187">
              <a:extLst>
                <a:ext uri="{FF2B5EF4-FFF2-40B4-BE49-F238E27FC236}">
                  <a16:creationId xmlns:a16="http://schemas.microsoft.com/office/drawing/2014/main" id="{B18C9E3B-0F5E-D944-98A0-EE42014A0E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85381" y="4166269"/>
              <a:ext cx="2551633" cy="2551633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188">
              <a:extLst>
                <a:ext uri="{FF2B5EF4-FFF2-40B4-BE49-F238E27FC236}">
                  <a16:creationId xmlns:a16="http://schemas.microsoft.com/office/drawing/2014/main" id="{DA2174A4-C99C-4442-A71F-1F0B67E4951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4421" y="5816625"/>
              <a:ext cx="632636" cy="488689"/>
            </a:xfrm>
            <a:custGeom>
              <a:avLst/>
              <a:gdLst>
                <a:gd name="T0" fmla="*/ 326 w 422"/>
                <a:gd name="T1" fmla="*/ 0 h 326"/>
                <a:gd name="T2" fmla="*/ 248 w 422"/>
                <a:gd name="T3" fmla="*/ 0 h 326"/>
                <a:gd name="T4" fmla="*/ 174 w 422"/>
                <a:gd name="T5" fmla="*/ 0 h 326"/>
                <a:gd name="T6" fmla="*/ 96 w 422"/>
                <a:gd name="T7" fmla="*/ 0 h 326"/>
                <a:gd name="T8" fmla="*/ 0 w 422"/>
                <a:gd name="T9" fmla="*/ 326 h 326"/>
                <a:gd name="T10" fmla="*/ 174 w 422"/>
                <a:gd name="T11" fmla="*/ 326 h 326"/>
                <a:gd name="T12" fmla="*/ 248 w 422"/>
                <a:gd name="T13" fmla="*/ 326 h 326"/>
                <a:gd name="T14" fmla="*/ 422 w 422"/>
                <a:gd name="T15" fmla="*/ 326 h 326"/>
                <a:gd name="T16" fmla="*/ 326 w 422"/>
                <a:gd name="T17" fmla="*/ 0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2" h="326">
                  <a:moveTo>
                    <a:pt x="326" y="0"/>
                  </a:moveTo>
                  <a:cubicBezTo>
                    <a:pt x="248" y="0"/>
                    <a:pt x="248" y="0"/>
                    <a:pt x="248" y="0"/>
                  </a:cubicBezTo>
                  <a:cubicBezTo>
                    <a:pt x="174" y="0"/>
                    <a:pt x="174" y="0"/>
                    <a:pt x="174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0"/>
                    <a:pt x="115" y="326"/>
                    <a:pt x="0" y="326"/>
                  </a:cubicBezTo>
                  <a:cubicBezTo>
                    <a:pt x="174" y="326"/>
                    <a:pt x="174" y="326"/>
                    <a:pt x="174" y="326"/>
                  </a:cubicBezTo>
                  <a:cubicBezTo>
                    <a:pt x="248" y="326"/>
                    <a:pt x="248" y="326"/>
                    <a:pt x="248" y="326"/>
                  </a:cubicBezTo>
                  <a:cubicBezTo>
                    <a:pt x="422" y="326"/>
                    <a:pt x="422" y="326"/>
                    <a:pt x="422" y="326"/>
                  </a:cubicBezTo>
                  <a:cubicBezTo>
                    <a:pt x="307" y="326"/>
                    <a:pt x="326" y="0"/>
                    <a:pt x="326" y="0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189">
              <a:extLst>
                <a:ext uri="{FF2B5EF4-FFF2-40B4-BE49-F238E27FC236}">
                  <a16:creationId xmlns:a16="http://schemas.microsoft.com/office/drawing/2014/main" id="{14E08FE1-B4EA-3F41-B7FA-C5D340CC2BB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3655" y="4566022"/>
              <a:ext cx="2314167" cy="1520161"/>
            </a:xfrm>
            <a:custGeom>
              <a:avLst/>
              <a:gdLst>
                <a:gd name="T0" fmla="*/ 1502 w 1544"/>
                <a:gd name="T1" fmla="*/ 0 h 1014"/>
                <a:gd name="T2" fmla="*/ 42 w 1544"/>
                <a:gd name="T3" fmla="*/ 0 h 1014"/>
                <a:gd name="T4" fmla="*/ 0 w 1544"/>
                <a:gd name="T5" fmla="*/ 42 h 1014"/>
                <a:gd name="T6" fmla="*/ 0 w 1544"/>
                <a:gd name="T7" fmla="*/ 902 h 1014"/>
                <a:gd name="T8" fmla="*/ 0 w 1544"/>
                <a:gd name="T9" fmla="*/ 911 h 1014"/>
                <a:gd name="T10" fmla="*/ 0 w 1544"/>
                <a:gd name="T11" fmla="*/ 978 h 1014"/>
                <a:gd name="T12" fmla="*/ 36 w 1544"/>
                <a:gd name="T13" fmla="*/ 1014 h 1014"/>
                <a:gd name="T14" fmla="*/ 1508 w 1544"/>
                <a:gd name="T15" fmla="*/ 1014 h 1014"/>
                <a:gd name="T16" fmla="*/ 1544 w 1544"/>
                <a:gd name="T17" fmla="*/ 978 h 1014"/>
                <a:gd name="T18" fmla="*/ 1544 w 1544"/>
                <a:gd name="T19" fmla="*/ 911 h 1014"/>
                <a:gd name="T20" fmla="*/ 1544 w 1544"/>
                <a:gd name="T21" fmla="*/ 902 h 1014"/>
                <a:gd name="T22" fmla="*/ 1544 w 1544"/>
                <a:gd name="T23" fmla="*/ 42 h 1014"/>
                <a:gd name="T24" fmla="*/ 1502 w 1544"/>
                <a:gd name="T25" fmla="*/ 0 h 10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44" h="1014">
                  <a:moveTo>
                    <a:pt x="1502" y="0"/>
                  </a:moveTo>
                  <a:cubicBezTo>
                    <a:pt x="42" y="0"/>
                    <a:pt x="42" y="0"/>
                    <a:pt x="42" y="0"/>
                  </a:cubicBezTo>
                  <a:cubicBezTo>
                    <a:pt x="19" y="0"/>
                    <a:pt x="0" y="18"/>
                    <a:pt x="0" y="42"/>
                  </a:cubicBezTo>
                  <a:cubicBezTo>
                    <a:pt x="0" y="902"/>
                    <a:pt x="0" y="902"/>
                    <a:pt x="0" y="902"/>
                  </a:cubicBezTo>
                  <a:cubicBezTo>
                    <a:pt x="0" y="911"/>
                    <a:pt x="0" y="911"/>
                    <a:pt x="0" y="911"/>
                  </a:cubicBezTo>
                  <a:cubicBezTo>
                    <a:pt x="0" y="978"/>
                    <a:pt x="0" y="978"/>
                    <a:pt x="0" y="978"/>
                  </a:cubicBezTo>
                  <a:cubicBezTo>
                    <a:pt x="0" y="998"/>
                    <a:pt x="16" y="1014"/>
                    <a:pt x="36" y="1014"/>
                  </a:cubicBezTo>
                  <a:cubicBezTo>
                    <a:pt x="1508" y="1014"/>
                    <a:pt x="1508" y="1014"/>
                    <a:pt x="1508" y="1014"/>
                  </a:cubicBezTo>
                  <a:cubicBezTo>
                    <a:pt x="1528" y="1014"/>
                    <a:pt x="1544" y="998"/>
                    <a:pt x="1544" y="978"/>
                  </a:cubicBezTo>
                  <a:cubicBezTo>
                    <a:pt x="1544" y="911"/>
                    <a:pt x="1544" y="911"/>
                    <a:pt x="1544" y="911"/>
                  </a:cubicBezTo>
                  <a:cubicBezTo>
                    <a:pt x="1544" y="902"/>
                    <a:pt x="1544" y="902"/>
                    <a:pt x="1544" y="902"/>
                  </a:cubicBezTo>
                  <a:cubicBezTo>
                    <a:pt x="1544" y="42"/>
                    <a:pt x="1544" y="42"/>
                    <a:pt x="1544" y="42"/>
                  </a:cubicBezTo>
                  <a:cubicBezTo>
                    <a:pt x="1544" y="18"/>
                    <a:pt x="1525" y="0"/>
                    <a:pt x="1502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Rectangle 190">
              <a:extLst>
                <a:ext uri="{FF2B5EF4-FFF2-40B4-BE49-F238E27FC236}">
                  <a16:creationId xmlns:a16="http://schemas.microsoft.com/office/drawing/2014/main" id="{73D6821B-9134-8D48-B834-AB41A8EFCC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78839" y="4638453"/>
              <a:ext cx="2164717" cy="116166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Rectangle 191">
              <a:extLst>
                <a:ext uri="{FF2B5EF4-FFF2-40B4-BE49-F238E27FC236}">
                  <a16:creationId xmlns:a16="http://schemas.microsoft.com/office/drawing/2014/main" id="{9164802B-4D4A-1D4F-BFE4-7A87726826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77005" y="5790951"/>
              <a:ext cx="2167467" cy="67848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Oval 192">
              <a:extLst>
                <a:ext uri="{FF2B5EF4-FFF2-40B4-BE49-F238E27FC236}">
                  <a16:creationId xmlns:a16="http://schemas.microsoft.com/office/drawing/2014/main" id="{B4C8086B-7148-6E44-A860-928CAFCA63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03893" y="5912895"/>
              <a:ext cx="113691" cy="113691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193">
              <a:extLst>
                <a:ext uri="{FF2B5EF4-FFF2-40B4-BE49-F238E27FC236}">
                  <a16:creationId xmlns:a16="http://schemas.microsoft.com/office/drawing/2014/main" id="{B5C82A6D-CD46-9D4F-B6F8-D0C460053D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38919" y="6296143"/>
              <a:ext cx="644556" cy="2108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73" name="Group 68">
              <a:extLst>
                <a:ext uri="{FF2B5EF4-FFF2-40B4-BE49-F238E27FC236}">
                  <a16:creationId xmlns:a16="http://schemas.microsoft.com/office/drawing/2014/main" id="{BE4A892E-45AE-4149-AA8C-61173C917D52}"/>
                </a:ext>
              </a:extLst>
            </p:cNvPr>
            <p:cNvGrpSpPr/>
            <p:nvPr/>
          </p:nvGrpSpPr>
          <p:grpSpPr>
            <a:xfrm>
              <a:off x="5803099" y="4968524"/>
              <a:ext cx="515279" cy="579459"/>
              <a:chOff x="5803099" y="3920088"/>
              <a:chExt cx="515278" cy="579458"/>
            </a:xfrm>
          </p:grpSpPr>
          <p:sp>
            <p:nvSpPr>
              <p:cNvPr id="102" name="Freeform 194">
                <a:extLst>
                  <a:ext uri="{FF2B5EF4-FFF2-40B4-BE49-F238E27FC236}">
                    <a16:creationId xmlns:a16="http://schemas.microsoft.com/office/drawing/2014/main" id="{531B01BF-1102-C148-A08F-9656C4D4BD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3099" y="3920088"/>
                <a:ext cx="515278" cy="579458"/>
              </a:xfrm>
              <a:custGeom>
                <a:avLst/>
                <a:gdLst>
                  <a:gd name="T0" fmla="*/ 344 w 344"/>
                  <a:gd name="T1" fmla="*/ 387 h 387"/>
                  <a:gd name="T2" fmla="*/ 0 w 344"/>
                  <a:gd name="T3" fmla="*/ 387 h 387"/>
                  <a:gd name="T4" fmla="*/ 0 w 344"/>
                  <a:gd name="T5" fmla="*/ 45 h 387"/>
                  <a:gd name="T6" fmla="*/ 45 w 344"/>
                  <a:gd name="T7" fmla="*/ 0 h 387"/>
                  <a:gd name="T8" fmla="*/ 299 w 344"/>
                  <a:gd name="T9" fmla="*/ 0 h 387"/>
                  <a:gd name="T10" fmla="*/ 344 w 344"/>
                  <a:gd name="T11" fmla="*/ 45 h 387"/>
                  <a:gd name="T12" fmla="*/ 344 w 344"/>
                  <a:gd name="T13" fmla="*/ 387 h 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4" h="387">
                    <a:moveTo>
                      <a:pt x="344" y="387"/>
                    </a:moveTo>
                    <a:cubicBezTo>
                      <a:pt x="0" y="387"/>
                      <a:pt x="0" y="387"/>
                      <a:pt x="0" y="387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20"/>
                      <a:pt x="20" y="0"/>
                      <a:pt x="45" y="0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324" y="0"/>
                      <a:pt x="344" y="20"/>
                      <a:pt x="344" y="45"/>
                    </a:cubicBezTo>
                    <a:lnTo>
                      <a:pt x="344" y="387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195">
                <a:extLst>
                  <a:ext uri="{FF2B5EF4-FFF2-40B4-BE49-F238E27FC236}">
                    <a16:creationId xmlns:a16="http://schemas.microsoft.com/office/drawing/2014/main" id="{07BCFA25-3C1C-A64F-A592-CF874A7313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17769" y="4014525"/>
                <a:ext cx="485938" cy="46851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196">
                <a:extLst>
                  <a:ext uri="{FF2B5EF4-FFF2-40B4-BE49-F238E27FC236}">
                    <a16:creationId xmlns:a16="http://schemas.microsoft.com/office/drawing/2014/main" id="{BFF930A1-5903-6942-9C6C-78E068A6E8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4443" y="3943927"/>
                <a:ext cx="29340" cy="29340"/>
              </a:xfrm>
              <a:custGeom>
                <a:avLst/>
                <a:gdLst>
                  <a:gd name="T0" fmla="*/ 15 w 20"/>
                  <a:gd name="T1" fmla="*/ 6 h 20"/>
                  <a:gd name="T2" fmla="*/ 5 w 20"/>
                  <a:gd name="T3" fmla="*/ 15 h 20"/>
                  <a:gd name="T4" fmla="*/ 15 w 20"/>
                  <a:gd name="T5" fmla="*/ 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0" h="20">
                    <a:moveTo>
                      <a:pt x="15" y="6"/>
                    </a:moveTo>
                    <a:cubicBezTo>
                      <a:pt x="20" y="13"/>
                      <a:pt x="12" y="20"/>
                      <a:pt x="5" y="15"/>
                    </a:cubicBezTo>
                    <a:cubicBezTo>
                      <a:pt x="0" y="8"/>
                      <a:pt x="8" y="0"/>
                      <a:pt x="15" y="6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Oval 197">
                <a:extLst>
                  <a:ext uri="{FF2B5EF4-FFF2-40B4-BE49-F238E27FC236}">
                    <a16:creationId xmlns:a16="http://schemas.microsoft.com/office/drawing/2014/main" id="{10EB986D-5206-3747-BD69-A02CC98D08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29688" y="3949428"/>
                <a:ext cx="20171" cy="20171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198">
                <a:extLst>
                  <a:ext uri="{FF2B5EF4-FFF2-40B4-BE49-F238E27FC236}">
                    <a16:creationId xmlns:a16="http://schemas.microsoft.com/office/drawing/2014/main" id="{683DABCF-8CAE-4643-818C-4E3788C57B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83783" y="3943927"/>
                <a:ext cx="30257" cy="29340"/>
              </a:xfrm>
              <a:custGeom>
                <a:avLst/>
                <a:gdLst>
                  <a:gd name="T0" fmla="*/ 14 w 20"/>
                  <a:gd name="T1" fmla="*/ 6 h 20"/>
                  <a:gd name="T2" fmla="*/ 5 w 20"/>
                  <a:gd name="T3" fmla="*/ 15 h 20"/>
                  <a:gd name="T4" fmla="*/ 14 w 20"/>
                  <a:gd name="T5" fmla="*/ 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0" h="20">
                    <a:moveTo>
                      <a:pt x="14" y="6"/>
                    </a:moveTo>
                    <a:cubicBezTo>
                      <a:pt x="20" y="13"/>
                      <a:pt x="12" y="20"/>
                      <a:pt x="5" y="15"/>
                    </a:cubicBezTo>
                    <a:cubicBezTo>
                      <a:pt x="0" y="8"/>
                      <a:pt x="7" y="0"/>
                      <a:pt x="14" y="6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199">
                <a:extLst>
                  <a:ext uri="{FF2B5EF4-FFF2-40B4-BE49-F238E27FC236}">
                    <a16:creationId xmlns:a16="http://schemas.microsoft.com/office/drawing/2014/main" id="{32B178CA-446F-C64A-86CD-89951D538D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33294" y="3944843"/>
                <a:ext cx="352076" cy="27506"/>
              </a:xfrm>
              <a:custGeom>
                <a:avLst/>
                <a:gdLst>
                  <a:gd name="T0" fmla="*/ 226 w 235"/>
                  <a:gd name="T1" fmla="*/ 18 h 18"/>
                  <a:gd name="T2" fmla="*/ 9 w 235"/>
                  <a:gd name="T3" fmla="*/ 18 h 18"/>
                  <a:gd name="T4" fmla="*/ 0 w 235"/>
                  <a:gd name="T5" fmla="*/ 9 h 18"/>
                  <a:gd name="T6" fmla="*/ 9 w 235"/>
                  <a:gd name="T7" fmla="*/ 0 h 18"/>
                  <a:gd name="T8" fmla="*/ 226 w 235"/>
                  <a:gd name="T9" fmla="*/ 0 h 18"/>
                  <a:gd name="T10" fmla="*/ 235 w 235"/>
                  <a:gd name="T11" fmla="*/ 9 h 18"/>
                  <a:gd name="T12" fmla="*/ 226 w 235"/>
                  <a:gd name="T13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5" h="18">
                    <a:moveTo>
                      <a:pt x="226" y="18"/>
                    </a:moveTo>
                    <a:cubicBezTo>
                      <a:pt x="9" y="18"/>
                      <a:pt x="9" y="18"/>
                      <a:pt x="9" y="18"/>
                    </a:cubicBezTo>
                    <a:cubicBezTo>
                      <a:pt x="4" y="18"/>
                      <a:pt x="0" y="14"/>
                      <a:pt x="0" y="9"/>
                    </a:cubicBezTo>
                    <a:cubicBezTo>
                      <a:pt x="0" y="4"/>
                      <a:pt x="4" y="0"/>
                      <a:pt x="9" y="0"/>
                    </a:cubicBezTo>
                    <a:cubicBezTo>
                      <a:pt x="226" y="0"/>
                      <a:pt x="226" y="0"/>
                      <a:pt x="226" y="0"/>
                    </a:cubicBezTo>
                    <a:cubicBezTo>
                      <a:pt x="231" y="0"/>
                      <a:pt x="235" y="4"/>
                      <a:pt x="235" y="9"/>
                    </a:cubicBezTo>
                    <a:cubicBezTo>
                      <a:pt x="235" y="14"/>
                      <a:pt x="231" y="18"/>
                      <a:pt x="226" y="18"/>
                    </a:cubicBez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4" name="Group 69">
              <a:extLst>
                <a:ext uri="{FF2B5EF4-FFF2-40B4-BE49-F238E27FC236}">
                  <a16:creationId xmlns:a16="http://schemas.microsoft.com/office/drawing/2014/main" id="{0A053726-5A1C-9941-900E-26B120234FB7}"/>
                </a:ext>
              </a:extLst>
            </p:cNvPr>
            <p:cNvGrpSpPr/>
            <p:nvPr/>
          </p:nvGrpSpPr>
          <p:grpSpPr>
            <a:xfrm>
              <a:off x="5068689" y="4886006"/>
              <a:ext cx="638139" cy="718823"/>
              <a:chOff x="5068690" y="3837570"/>
              <a:chExt cx="638138" cy="718822"/>
            </a:xfrm>
          </p:grpSpPr>
          <p:sp>
            <p:nvSpPr>
              <p:cNvPr id="96" name="Freeform 218">
                <a:extLst>
                  <a:ext uri="{FF2B5EF4-FFF2-40B4-BE49-F238E27FC236}">
                    <a16:creationId xmlns:a16="http://schemas.microsoft.com/office/drawing/2014/main" id="{57E4D292-B91E-B840-990C-F7A6B037FD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8690" y="3837570"/>
                <a:ext cx="638138" cy="718822"/>
              </a:xfrm>
              <a:custGeom>
                <a:avLst/>
                <a:gdLst>
                  <a:gd name="T0" fmla="*/ 426 w 426"/>
                  <a:gd name="T1" fmla="*/ 480 h 480"/>
                  <a:gd name="T2" fmla="*/ 0 w 426"/>
                  <a:gd name="T3" fmla="*/ 480 h 480"/>
                  <a:gd name="T4" fmla="*/ 0 w 426"/>
                  <a:gd name="T5" fmla="*/ 45 h 480"/>
                  <a:gd name="T6" fmla="*/ 45 w 426"/>
                  <a:gd name="T7" fmla="*/ 0 h 480"/>
                  <a:gd name="T8" fmla="*/ 381 w 426"/>
                  <a:gd name="T9" fmla="*/ 0 h 480"/>
                  <a:gd name="T10" fmla="*/ 426 w 426"/>
                  <a:gd name="T11" fmla="*/ 45 h 480"/>
                  <a:gd name="T12" fmla="*/ 426 w 426"/>
                  <a:gd name="T13" fmla="*/ 48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6" h="480">
                    <a:moveTo>
                      <a:pt x="426" y="480"/>
                    </a:moveTo>
                    <a:cubicBezTo>
                      <a:pt x="0" y="480"/>
                      <a:pt x="0" y="480"/>
                      <a:pt x="0" y="480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20"/>
                      <a:pt x="20" y="0"/>
                      <a:pt x="45" y="0"/>
                    </a:cubicBezTo>
                    <a:cubicBezTo>
                      <a:pt x="381" y="0"/>
                      <a:pt x="381" y="0"/>
                      <a:pt x="381" y="0"/>
                    </a:cubicBezTo>
                    <a:cubicBezTo>
                      <a:pt x="406" y="0"/>
                      <a:pt x="426" y="20"/>
                      <a:pt x="426" y="45"/>
                    </a:cubicBezTo>
                    <a:lnTo>
                      <a:pt x="426" y="48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219">
                <a:extLst>
                  <a:ext uri="{FF2B5EF4-FFF2-40B4-BE49-F238E27FC236}">
                    <a16:creationId xmlns:a16="http://schemas.microsoft.com/office/drawing/2014/main" id="{7E2E0AAA-AF62-464C-B564-F8F62B8096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86111" y="3953095"/>
                <a:ext cx="603297" cy="58312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20">
                <a:extLst>
                  <a:ext uri="{FF2B5EF4-FFF2-40B4-BE49-F238E27FC236}">
                    <a16:creationId xmlns:a16="http://schemas.microsoft.com/office/drawing/2014/main" id="{CB176D85-8DF8-E847-9069-8014F0355B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0120" y="3865993"/>
                <a:ext cx="37591" cy="37591"/>
              </a:xfrm>
              <a:custGeom>
                <a:avLst/>
                <a:gdLst>
                  <a:gd name="T0" fmla="*/ 19 w 25"/>
                  <a:gd name="T1" fmla="*/ 7 h 25"/>
                  <a:gd name="T2" fmla="*/ 7 w 25"/>
                  <a:gd name="T3" fmla="*/ 19 h 25"/>
                  <a:gd name="T4" fmla="*/ 19 w 25"/>
                  <a:gd name="T5" fmla="*/ 7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25">
                    <a:moveTo>
                      <a:pt x="19" y="7"/>
                    </a:moveTo>
                    <a:cubicBezTo>
                      <a:pt x="25" y="16"/>
                      <a:pt x="16" y="25"/>
                      <a:pt x="7" y="19"/>
                    </a:cubicBezTo>
                    <a:cubicBezTo>
                      <a:pt x="0" y="10"/>
                      <a:pt x="10" y="0"/>
                      <a:pt x="19" y="7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Oval 221">
                <a:extLst>
                  <a:ext uri="{FF2B5EF4-FFF2-40B4-BE49-F238E27FC236}">
                    <a16:creationId xmlns:a16="http://schemas.microsoft.com/office/drawing/2014/main" id="{56D0993B-1F81-FD4B-BA98-229F9A3E94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99864" y="3873328"/>
                <a:ext cx="25672" cy="23838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22">
                <a:extLst>
                  <a:ext uri="{FF2B5EF4-FFF2-40B4-BE49-F238E27FC236}">
                    <a16:creationId xmlns:a16="http://schemas.microsoft.com/office/drawing/2014/main" id="{EBE60751-65E9-5940-BA26-81D1E968AE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7712" y="3865993"/>
                <a:ext cx="37591" cy="37591"/>
              </a:xfrm>
              <a:custGeom>
                <a:avLst/>
                <a:gdLst>
                  <a:gd name="T0" fmla="*/ 18 w 25"/>
                  <a:gd name="T1" fmla="*/ 7 h 25"/>
                  <a:gd name="T2" fmla="*/ 6 w 25"/>
                  <a:gd name="T3" fmla="*/ 19 h 25"/>
                  <a:gd name="T4" fmla="*/ 18 w 25"/>
                  <a:gd name="T5" fmla="*/ 7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25">
                    <a:moveTo>
                      <a:pt x="18" y="7"/>
                    </a:moveTo>
                    <a:cubicBezTo>
                      <a:pt x="25" y="16"/>
                      <a:pt x="15" y="25"/>
                      <a:pt x="6" y="19"/>
                    </a:cubicBezTo>
                    <a:cubicBezTo>
                      <a:pt x="0" y="10"/>
                      <a:pt x="10" y="0"/>
                      <a:pt x="18" y="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23">
                <a:extLst>
                  <a:ext uri="{FF2B5EF4-FFF2-40B4-BE49-F238E27FC236}">
                    <a16:creationId xmlns:a16="http://schemas.microsoft.com/office/drawing/2014/main" id="{081676D8-710E-BB40-BBA4-381DA5C1AC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29142" y="3868744"/>
                <a:ext cx="437344" cy="33007"/>
              </a:xfrm>
              <a:custGeom>
                <a:avLst/>
                <a:gdLst>
                  <a:gd name="T0" fmla="*/ 281 w 292"/>
                  <a:gd name="T1" fmla="*/ 22 h 22"/>
                  <a:gd name="T2" fmla="*/ 11 w 292"/>
                  <a:gd name="T3" fmla="*/ 22 h 22"/>
                  <a:gd name="T4" fmla="*/ 0 w 292"/>
                  <a:gd name="T5" fmla="*/ 11 h 22"/>
                  <a:gd name="T6" fmla="*/ 11 w 292"/>
                  <a:gd name="T7" fmla="*/ 0 h 22"/>
                  <a:gd name="T8" fmla="*/ 281 w 292"/>
                  <a:gd name="T9" fmla="*/ 0 h 22"/>
                  <a:gd name="T10" fmla="*/ 292 w 292"/>
                  <a:gd name="T11" fmla="*/ 11 h 22"/>
                  <a:gd name="T12" fmla="*/ 281 w 292"/>
                  <a:gd name="T13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2" h="22">
                    <a:moveTo>
                      <a:pt x="281" y="22"/>
                    </a:moveTo>
                    <a:cubicBezTo>
                      <a:pt x="11" y="22"/>
                      <a:pt x="11" y="22"/>
                      <a:pt x="11" y="22"/>
                    </a:cubicBezTo>
                    <a:cubicBezTo>
                      <a:pt x="5" y="22"/>
                      <a:pt x="0" y="17"/>
                      <a:pt x="0" y="11"/>
                    </a:cubicBezTo>
                    <a:cubicBezTo>
                      <a:pt x="0" y="5"/>
                      <a:pt x="5" y="0"/>
                      <a:pt x="11" y="0"/>
                    </a:cubicBezTo>
                    <a:cubicBezTo>
                      <a:pt x="281" y="0"/>
                      <a:pt x="281" y="0"/>
                      <a:pt x="281" y="0"/>
                    </a:cubicBezTo>
                    <a:cubicBezTo>
                      <a:pt x="287" y="0"/>
                      <a:pt x="292" y="5"/>
                      <a:pt x="292" y="11"/>
                    </a:cubicBezTo>
                    <a:cubicBezTo>
                      <a:pt x="292" y="17"/>
                      <a:pt x="287" y="22"/>
                      <a:pt x="281" y="22"/>
                    </a:cubicBez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5" name="Group 70">
              <a:extLst>
                <a:ext uri="{FF2B5EF4-FFF2-40B4-BE49-F238E27FC236}">
                  <a16:creationId xmlns:a16="http://schemas.microsoft.com/office/drawing/2014/main" id="{173479C3-1EC6-D740-86AD-7950A7B7F09A}"/>
                </a:ext>
              </a:extLst>
            </p:cNvPr>
            <p:cNvGrpSpPr/>
            <p:nvPr/>
          </p:nvGrpSpPr>
          <p:grpSpPr>
            <a:xfrm>
              <a:off x="6414647" y="4886006"/>
              <a:ext cx="639055" cy="718823"/>
              <a:chOff x="6414647" y="3837570"/>
              <a:chExt cx="639054" cy="718822"/>
            </a:xfrm>
          </p:grpSpPr>
          <p:sp>
            <p:nvSpPr>
              <p:cNvPr id="90" name="Freeform 273">
                <a:extLst>
                  <a:ext uri="{FF2B5EF4-FFF2-40B4-BE49-F238E27FC236}">
                    <a16:creationId xmlns:a16="http://schemas.microsoft.com/office/drawing/2014/main" id="{B2B176AA-86DF-1340-B3BA-3B87181A09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14647" y="3837570"/>
                <a:ext cx="639054" cy="718822"/>
              </a:xfrm>
              <a:custGeom>
                <a:avLst/>
                <a:gdLst>
                  <a:gd name="T0" fmla="*/ 426 w 426"/>
                  <a:gd name="T1" fmla="*/ 480 h 480"/>
                  <a:gd name="T2" fmla="*/ 0 w 426"/>
                  <a:gd name="T3" fmla="*/ 480 h 480"/>
                  <a:gd name="T4" fmla="*/ 0 w 426"/>
                  <a:gd name="T5" fmla="*/ 45 h 480"/>
                  <a:gd name="T6" fmla="*/ 45 w 426"/>
                  <a:gd name="T7" fmla="*/ 0 h 480"/>
                  <a:gd name="T8" fmla="*/ 381 w 426"/>
                  <a:gd name="T9" fmla="*/ 0 h 480"/>
                  <a:gd name="T10" fmla="*/ 426 w 426"/>
                  <a:gd name="T11" fmla="*/ 45 h 480"/>
                  <a:gd name="T12" fmla="*/ 426 w 426"/>
                  <a:gd name="T13" fmla="*/ 48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6" h="480">
                    <a:moveTo>
                      <a:pt x="426" y="480"/>
                    </a:moveTo>
                    <a:cubicBezTo>
                      <a:pt x="0" y="480"/>
                      <a:pt x="0" y="480"/>
                      <a:pt x="0" y="480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20"/>
                      <a:pt x="20" y="0"/>
                      <a:pt x="45" y="0"/>
                    </a:cubicBezTo>
                    <a:cubicBezTo>
                      <a:pt x="381" y="0"/>
                      <a:pt x="381" y="0"/>
                      <a:pt x="381" y="0"/>
                    </a:cubicBezTo>
                    <a:cubicBezTo>
                      <a:pt x="406" y="0"/>
                      <a:pt x="426" y="20"/>
                      <a:pt x="426" y="45"/>
                    </a:cubicBezTo>
                    <a:lnTo>
                      <a:pt x="426" y="48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274">
                <a:extLst>
                  <a:ext uri="{FF2B5EF4-FFF2-40B4-BE49-F238E27FC236}">
                    <a16:creationId xmlns:a16="http://schemas.microsoft.com/office/drawing/2014/main" id="{CE76386F-9A71-CD49-98FE-33D0B9D51D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32985" y="3953095"/>
                <a:ext cx="602380" cy="58312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75">
                <a:extLst>
                  <a:ext uri="{FF2B5EF4-FFF2-40B4-BE49-F238E27FC236}">
                    <a16:creationId xmlns:a16="http://schemas.microsoft.com/office/drawing/2014/main" id="{9612980C-8C97-5D40-B61A-8051774BA1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77911" y="3865993"/>
                <a:ext cx="37591" cy="37591"/>
              </a:xfrm>
              <a:custGeom>
                <a:avLst/>
                <a:gdLst>
                  <a:gd name="T0" fmla="*/ 18 w 25"/>
                  <a:gd name="T1" fmla="*/ 7 h 25"/>
                  <a:gd name="T2" fmla="*/ 6 w 25"/>
                  <a:gd name="T3" fmla="*/ 19 h 25"/>
                  <a:gd name="T4" fmla="*/ 18 w 25"/>
                  <a:gd name="T5" fmla="*/ 7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25">
                    <a:moveTo>
                      <a:pt x="18" y="7"/>
                    </a:moveTo>
                    <a:cubicBezTo>
                      <a:pt x="25" y="16"/>
                      <a:pt x="15" y="25"/>
                      <a:pt x="6" y="19"/>
                    </a:cubicBezTo>
                    <a:cubicBezTo>
                      <a:pt x="0" y="10"/>
                      <a:pt x="9" y="0"/>
                      <a:pt x="18" y="7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Oval 276">
                <a:extLst>
                  <a:ext uri="{FF2B5EF4-FFF2-40B4-BE49-F238E27FC236}">
                    <a16:creationId xmlns:a16="http://schemas.microsoft.com/office/drawing/2014/main" id="{80DFBD99-9D89-3348-A980-309F4EF204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47654" y="3873328"/>
                <a:ext cx="23838" cy="23838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77">
                <a:extLst>
                  <a:ext uri="{FF2B5EF4-FFF2-40B4-BE49-F238E27FC236}">
                    <a16:creationId xmlns:a16="http://schemas.microsoft.com/office/drawing/2014/main" id="{7EF1D1C3-A22F-D840-9EA9-E3C66D08DF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13669" y="3865993"/>
                <a:ext cx="37591" cy="37591"/>
              </a:xfrm>
              <a:custGeom>
                <a:avLst/>
                <a:gdLst>
                  <a:gd name="T0" fmla="*/ 19 w 25"/>
                  <a:gd name="T1" fmla="*/ 7 h 25"/>
                  <a:gd name="T2" fmla="*/ 7 w 25"/>
                  <a:gd name="T3" fmla="*/ 19 h 25"/>
                  <a:gd name="T4" fmla="*/ 19 w 25"/>
                  <a:gd name="T5" fmla="*/ 7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25">
                    <a:moveTo>
                      <a:pt x="19" y="7"/>
                    </a:moveTo>
                    <a:cubicBezTo>
                      <a:pt x="25" y="16"/>
                      <a:pt x="15" y="25"/>
                      <a:pt x="7" y="19"/>
                    </a:cubicBezTo>
                    <a:cubicBezTo>
                      <a:pt x="0" y="10"/>
                      <a:pt x="10" y="0"/>
                      <a:pt x="19" y="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78">
                <a:extLst>
                  <a:ext uri="{FF2B5EF4-FFF2-40B4-BE49-F238E27FC236}">
                    <a16:creationId xmlns:a16="http://schemas.microsoft.com/office/drawing/2014/main" id="{877CB3A2-2875-EC46-85FE-FE278E4DAF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75099" y="3868744"/>
                <a:ext cx="437344" cy="33007"/>
              </a:xfrm>
              <a:custGeom>
                <a:avLst/>
                <a:gdLst>
                  <a:gd name="T0" fmla="*/ 281 w 292"/>
                  <a:gd name="T1" fmla="*/ 22 h 22"/>
                  <a:gd name="T2" fmla="*/ 12 w 292"/>
                  <a:gd name="T3" fmla="*/ 22 h 22"/>
                  <a:gd name="T4" fmla="*/ 0 w 292"/>
                  <a:gd name="T5" fmla="*/ 11 h 22"/>
                  <a:gd name="T6" fmla="*/ 12 w 292"/>
                  <a:gd name="T7" fmla="*/ 0 h 22"/>
                  <a:gd name="T8" fmla="*/ 281 w 292"/>
                  <a:gd name="T9" fmla="*/ 0 h 22"/>
                  <a:gd name="T10" fmla="*/ 292 w 292"/>
                  <a:gd name="T11" fmla="*/ 11 h 22"/>
                  <a:gd name="T12" fmla="*/ 281 w 292"/>
                  <a:gd name="T13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2" h="22">
                    <a:moveTo>
                      <a:pt x="281" y="22"/>
                    </a:moveTo>
                    <a:cubicBezTo>
                      <a:pt x="12" y="22"/>
                      <a:pt x="12" y="22"/>
                      <a:pt x="12" y="22"/>
                    </a:cubicBezTo>
                    <a:cubicBezTo>
                      <a:pt x="5" y="22"/>
                      <a:pt x="0" y="17"/>
                      <a:pt x="0" y="11"/>
                    </a:cubicBezTo>
                    <a:cubicBezTo>
                      <a:pt x="0" y="5"/>
                      <a:pt x="5" y="0"/>
                      <a:pt x="12" y="0"/>
                    </a:cubicBezTo>
                    <a:cubicBezTo>
                      <a:pt x="281" y="0"/>
                      <a:pt x="281" y="0"/>
                      <a:pt x="281" y="0"/>
                    </a:cubicBezTo>
                    <a:cubicBezTo>
                      <a:pt x="287" y="0"/>
                      <a:pt x="292" y="5"/>
                      <a:pt x="292" y="11"/>
                    </a:cubicBezTo>
                    <a:cubicBezTo>
                      <a:pt x="292" y="17"/>
                      <a:pt x="287" y="22"/>
                      <a:pt x="281" y="22"/>
                    </a:cubicBez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6" name="Group 71">
              <a:extLst>
                <a:ext uri="{FF2B5EF4-FFF2-40B4-BE49-F238E27FC236}">
                  <a16:creationId xmlns:a16="http://schemas.microsoft.com/office/drawing/2014/main" id="{B4885D74-00EF-2841-B52C-F1B597032DEB}"/>
                </a:ext>
              </a:extLst>
            </p:cNvPr>
            <p:cNvGrpSpPr/>
            <p:nvPr/>
          </p:nvGrpSpPr>
          <p:grpSpPr>
            <a:xfrm>
              <a:off x="4773460" y="5235333"/>
              <a:ext cx="1393635" cy="1425724"/>
              <a:chOff x="4773460" y="4186896"/>
              <a:chExt cx="1393634" cy="1425724"/>
            </a:xfrm>
          </p:grpSpPr>
          <p:sp>
            <p:nvSpPr>
              <p:cNvPr id="78" name="Freeform 296">
                <a:extLst>
                  <a:ext uri="{FF2B5EF4-FFF2-40B4-BE49-F238E27FC236}">
                    <a16:creationId xmlns:a16="http://schemas.microsoft.com/office/drawing/2014/main" id="{43D74A80-A716-3841-9EDB-9D2FB79DFA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2234" y="4251076"/>
                <a:ext cx="823344" cy="823344"/>
              </a:xfrm>
              <a:custGeom>
                <a:avLst/>
                <a:gdLst>
                  <a:gd name="T0" fmla="*/ 541 w 549"/>
                  <a:gd name="T1" fmla="*/ 259 h 549"/>
                  <a:gd name="T2" fmla="*/ 290 w 549"/>
                  <a:gd name="T3" fmla="*/ 540 h 549"/>
                  <a:gd name="T4" fmla="*/ 8 w 549"/>
                  <a:gd name="T5" fmla="*/ 290 h 549"/>
                  <a:gd name="T6" fmla="*/ 259 w 549"/>
                  <a:gd name="T7" fmla="*/ 8 h 549"/>
                  <a:gd name="T8" fmla="*/ 541 w 549"/>
                  <a:gd name="T9" fmla="*/ 259 h 5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9" h="549">
                    <a:moveTo>
                      <a:pt x="541" y="259"/>
                    </a:moveTo>
                    <a:cubicBezTo>
                      <a:pt x="549" y="406"/>
                      <a:pt x="437" y="532"/>
                      <a:pt x="290" y="540"/>
                    </a:cubicBezTo>
                    <a:cubicBezTo>
                      <a:pt x="143" y="549"/>
                      <a:pt x="17" y="437"/>
                      <a:pt x="8" y="290"/>
                    </a:cubicBezTo>
                    <a:cubicBezTo>
                      <a:pt x="0" y="143"/>
                      <a:pt x="112" y="17"/>
                      <a:pt x="259" y="8"/>
                    </a:cubicBezTo>
                    <a:cubicBezTo>
                      <a:pt x="406" y="0"/>
                      <a:pt x="532" y="112"/>
                      <a:pt x="541" y="259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97">
                <a:extLst>
                  <a:ext uri="{FF2B5EF4-FFF2-40B4-BE49-F238E27FC236}">
                    <a16:creationId xmlns:a16="http://schemas.microsoft.com/office/drawing/2014/main" id="{EFEC7C03-14F3-5349-BE9B-1D5EAEDAAD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06097" y="4345513"/>
                <a:ext cx="628969" cy="629886"/>
              </a:xfrm>
              <a:custGeom>
                <a:avLst/>
                <a:gdLst>
                  <a:gd name="T0" fmla="*/ 413 w 420"/>
                  <a:gd name="T1" fmla="*/ 198 h 420"/>
                  <a:gd name="T2" fmla="*/ 222 w 420"/>
                  <a:gd name="T3" fmla="*/ 414 h 420"/>
                  <a:gd name="T4" fmla="*/ 6 w 420"/>
                  <a:gd name="T5" fmla="*/ 222 h 420"/>
                  <a:gd name="T6" fmla="*/ 198 w 420"/>
                  <a:gd name="T7" fmla="*/ 6 h 420"/>
                  <a:gd name="T8" fmla="*/ 413 w 420"/>
                  <a:gd name="T9" fmla="*/ 198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0" h="420">
                    <a:moveTo>
                      <a:pt x="413" y="198"/>
                    </a:moveTo>
                    <a:cubicBezTo>
                      <a:pt x="420" y="310"/>
                      <a:pt x="334" y="407"/>
                      <a:pt x="222" y="414"/>
                    </a:cubicBezTo>
                    <a:cubicBezTo>
                      <a:pt x="109" y="420"/>
                      <a:pt x="13" y="334"/>
                      <a:pt x="6" y="222"/>
                    </a:cubicBezTo>
                    <a:cubicBezTo>
                      <a:pt x="0" y="109"/>
                      <a:pt x="85" y="13"/>
                      <a:pt x="198" y="6"/>
                    </a:cubicBezTo>
                    <a:cubicBezTo>
                      <a:pt x="310" y="0"/>
                      <a:pt x="407" y="85"/>
                      <a:pt x="413" y="198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98">
                <a:extLst>
                  <a:ext uri="{FF2B5EF4-FFF2-40B4-BE49-F238E27FC236}">
                    <a16:creationId xmlns:a16="http://schemas.microsoft.com/office/drawing/2014/main" id="{0D3CE56C-3AA6-7D46-9E37-DB6C01CFBA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0985" y="4513299"/>
                <a:ext cx="284228" cy="285145"/>
              </a:xfrm>
              <a:custGeom>
                <a:avLst/>
                <a:gdLst>
                  <a:gd name="T0" fmla="*/ 187 w 190"/>
                  <a:gd name="T1" fmla="*/ 89 h 190"/>
                  <a:gd name="T2" fmla="*/ 101 w 190"/>
                  <a:gd name="T3" fmla="*/ 187 h 190"/>
                  <a:gd name="T4" fmla="*/ 3 w 190"/>
                  <a:gd name="T5" fmla="*/ 100 h 190"/>
                  <a:gd name="T6" fmla="*/ 90 w 190"/>
                  <a:gd name="T7" fmla="*/ 3 h 190"/>
                  <a:gd name="T8" fmla="*/ 187 w 190"/>
                  <a:gd name="T9" fmla="*/ 89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0" h="190">
                    <a:moveTo>
                      <a:pt x="187" y="89"/>
                    </a:moveTo>
                    <a:cubicBezTo>
                      <a:pt x="190" y="140"/>
                      <a:pt x="152" y="184"/>
                      <a:pt x="101" y="187"/>
                    </a:cubicBezTo>
                    <a:cubicBezTo>
                      <a:pt x="50" y="190"/>
                      <a:pt x="6" y="151"/>
                      <a:pt x="3" y="100"/>
                    </a:cubicBezTo>
                    <a:cubicBezTo>
                      <a:pt x="0" y="49"/>
                      <a:pt x="39" y="6"/>
                      <a:pt x="90" y="3"/>
                    </a:cubicBezTo>
                    <a:cubicBezTo>
                      <a:pt x="141" y="0"/>
                      <a:pt x="184" y="38"/>
                      <a:pt x="187" y="8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99">
                <a:extLst>
                  <a:ext uri="{FF2B5EF4-FFF2-40B4-BE49-F238E27FC236}">
                    <a16:creationId xmlns:a16="http://schemas.microsoft.com/office/drawing/2014/main" id="{DCDA11C3-F0C4-EF4F-8435-36D1C69A09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4705" y="4879128"/>
                <a:ext cx="352076" cy="355743"/>
              </a:xfrm>
              <a:custGeom>
                <a:avLst/>
                <a:gdLst>
                  <a:gd name="T0" fmla="*/ 61 w 235"/>
                  <a:gd name="T1" fmla="*/ 231 h 237"/>
                  <a:gd name="T2" fmla="*/ 7 w 235"/>
                  <a:gd name="T3" fmla="*/ 182 h 237"/>
                  <a:gd name="T4" fmla="*/ 6 w 235"/>
                  <a:gd name="T5" fmla="*/ 158 h 237"/>
                  <a:gd name="T6" fmla="*/ 150 w 235"/>
                  <a:gd name="T7" fmla="*/ 7 h 237"/>
                  <a:gd name="T8" fmla="*/ 173 w 235"/>
                  <a:gd name="T9" fmla="*/ 6 h 237"/>
                  <a:gd name="T10" fmla="*/ 227 w 235"/>
                  <a:gd name="T11" fmla="*/ 55 h 237"/>
                  <a:gd name="T12" fmla="*/ 228 w 235"/>
                  <a:gd name="T13" fmla="*/ 79 h 237"/>
                  <a:gd name="T14" fmla="*/ 85 w 235"/>
                  <a:gd name="T15" fmla="*/ 231 h 237"/>
                  <a:gd name="T16" fmla="*/ 61 w 235"/>
                  <a:gd name="T17" fmla="*/ 231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5" h="237">
                    <a:moveTo>
                      <a:pt x="61" y="231"/>
                    </a:moveTo>
                    <a:cubicBezTo>
                      <a:pt x="7" y="182"/>
                      <a:pt x="7" y="182"/>
                      <a:pt x="7" y="182"/>
                    </a:cubicBezTo>
                    <a:cubicBezTo>
                      <a:pt x="0" y="176"/>
                      <a:pt x="0" y="165"/>
                      <a:pt x="6" y="158"/>
                    </a:cubicBezTo>
                    <a:cubicBezTo>
                      <a:pt x="150" y="7"/>
                      <a:pt x="150" y="7"/>
                      <a:pt x="150" y="7"/>
                    </a:cubicBezTo>
                    <a:cubicBezTo>
                      <a:pt x="156" y="0"/>
                      <a:pt x="167" y="0"/>
                      <a:pt x="173" y="6"/>
                    </a:cubicBezTo>
                    <a:cubicBezTo>
                      <a:pt x="227" y="55"/>
                      <a:pt x="227" y="55"/>
                      <a:pt x="227" y="55"/>
                    </a:cubicBezTo>
                    <a:cubicBezTo>
                      <a:pt x="234" y="62"/>
                      <a:pt x="235" y="72"/>
                      <a:pt x="228" y="79"/>
                    </a:cubicBezTo>
                    <a:cubicBezTo>
                      <a:pt x="85" y="231"/>
                      <a:pt x="85" y="231"/>
                      <a:pt x="85" y="231"/>
                    </a:cubicBezTo>
                    <a:cubicBezTo>
                      <a:pt x="79" y="237"/>
                      <a:pt x="68" y="237"/>
                      <a:pt x="61" y="231"/>
                    </a:cubicBez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300">
                <a:extLst>
                  <a:ext uri="{FF2B5EF4-FFF2-40B4-BE49-F238E27FC236}">
                    <a16:creationId xmlns:a16="http://schemas.microsoft.com/office/drawing/2014/main" id="{06627B9A-8DD5-E343-BE46-9F3DDC0D95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85132" y="4204316"/>
                <a:ext cx="967292" cy="950788"/>
              </a:xfrm>
              <a:custGeom>
                <a:avLst/>
                <a:gdLst>
                  <a:gd name="T0" fmla="*/ 521 w 645"/>
                  <a:gd name="T1" fmla="*/ 107 h 634"/>
                  <a:gd name="T2" fmla="*/ 110 w 645"/>
                  <a:gd name="T3" fmla="*/ 122 h 634"/>
                  <a:gd name="T4" fmla="*/ 124 w 645"/>
                  <a:gd name="T5" fmla="*/ 526 h 634"/>
                  <a:gd name="T6" fmla="*/ 535 w 645"/>
                  <a:gd name="T7" fmla="*/ 511 h 634"/>
                  <a:gd name="T8" fmla="*/ 521 w 645"/>
                  <a:gd name="T9" fmla="*/ 107 h 634"/>
                  <a:gd name="T10" fmla="*/ 181 w 645"/>
                  <a:gd name="T11" fmla="*/ 466 h 634"/>
                  <a:gd name="T12" fmla="*/ 171 w 645"/>
                  <a:gd name="T13" fmla="*/ 178 h 634"/>
                  <a:gd name="T14" fmla="*/ 464 w 645"/>
                  <a:gd name="T15" fmla="*/ 167 h 634"/>
                  <a:gd name="T16" fmla="*/ 475 w 645"/>
                  <a:gd name="T17" fmla="*/ 456 h 634"/>
                  <a:gd name="T18" fmla="*/ 181 w 645"/>
                  <a:gd name="T19" fmla="*/ 466 h 6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5" h="634">
                    <a:moveTo>
                      <a:pt x="521" y="107"/>
                    </a:moveTo>
                    <a:cubicBezTo>
                      <a:pt x="404" y="0"/>
                      <a:pt x="220" y="6"/>
                      <a:pt x="110" y="122"/>
                    </a:cubicBezTo>
                    <a:cubicBezTo>
                      <a:pt x="0" y="238"/>
                      <a:pt x="7" y="419"/>
                      <a:pt x="124" y="526"/>
                    </a:cubicBezTo>
                    <a:cubicBezTo>
                      <a:pt x="242" y="634"/>
                      <a:pt x="426" y="627"/>
                      <a:pt x="535" y="511"/>
                    </a:cubicBezTo>
                    <a:cubicBezTo>
                      <a:pt x="645" y="396"/>
                      <a:pt x="639" y="215"/>
                      <a:pt x="521" y="107"/>
                    </a:cubicBezTo>
                    <a:close/>
                    <a:moveTo>
                      <a:pt x="181" y="466"/>
                    </a:moveTo>
                    <a:cubicBezTo>
                      <a:pt x="97" y="390"/>
                      <a:pt x="93" y="260"/>
                      <a:pt x="171" y="178"/>
                    </a:cubicBezTo>
                    <a:cubicBezTo>
                      <a:pt x="249" y="95"/>
                      <a:pt x="381" y="90"/>
                      <a:pt x="464" y="167"/>
                    </a:cubicBezTo>
                    <a:cubicBezTo>
                      <a:pt x="548" y="244"/>
                      <a:pt x="553" y="373"/>
                      <a:pt x="475" y="456"/>
                    </a:cubicBezTo>
                    <a:cubicBezTo>
                      <a:pt x="396" y="538"/>
                      <a:pt x="265" y="543"/>
                      <a:pt x="181" y="466"/>
                    </a:cubicBez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301">
                <a:extLst>
                  <a:ext uri="{FF2B5EF4-FFF2-40B4-BE49-F238E27FC236}">
                    <a16:creationId xmlns:a16="http://schemas.microsoft.com/office/drawing/2014/main" id="{D18444B7-317B-924C-A115-BE344C5F6E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77983" y="5144102"/>
                <a:ext cx="361245" cy="357577"/>
              </a:xfrm>
              <a:custGeom>
                <a:avLst/>
                <a:gdLst>
                  <a:gd name="T0" fmla="*/ 190 w 394"/>
                  <a:gd name="T1" fmla="*/ 390 h 390"/>
                  <a:gd name="T2" fmla="*/ 0 w 394"/>
                  <a:gd name="T3" fmla="*/ 215 h 390"/>
                  <a:gd name="T4" fmla="*/ 203 w 394"/>
                  <a:gd name="T5" fmla="*/ 0 h 390"/>
                  <a:gd name="T6" fmla="*/ 394 w 394"/>
                  <a:gd name="T7" fmla="*/ 174 h 390"/>
                  <a:gd name="T8" fmla="*/ 190 w 394"/>
                  <a:gd name="T9" fmla="*/ 390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4" h="390">
                    <a:moveTo>
                      <a:pt x="190" y="390"/>
                    </a:moveTo>
                    <a:lnTo>
                      <a:pt x="0" y="215"/>
                    </a:lnTo>
                    <a:lnTo>
                      <a:pt x="203" y="0"/>
                    </a:lnTo>
                    <a:lnTo>
                      <a:pt x="394" y="174"/>
                    </a:lnTo>
                    <a:lnTo>
                      <a:pt x="190" y="390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302">
                <a:extLst>
                  <a:ext uri="{FF2B5EF4-FFF2-40B4-BE49-F238E27FC236}">
                    <a16:creationId xmlns:a16="http://schemas.microsoft.com/office/drawing/2014/main" id="{9C4EA80B-6615-184B-986F-66D1FF9658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3460" y="5341228"/>
                <a:ext cx="278727" cy="271392"/>
              </a:xfrm>
              <a:custGeom>
                <a:avLst/>
                <a:gdLst>
                  <a:gd name="T0" fmla="*/ 7 w 186"/>
                  <a:gd name="T1" fmla="*/ 66 h 181"/>
                  <a:gd name="T2" fmla="*/ 8 w 186"/>
                  <a:gd name="T3" fmla="*/ 93 h 181"/>
                  <a:gd name="T4" fmla="*/ 97 w 186"/>
                  <a:gd name="T5" fmla="*/ 174 h 181"/>
                  <a:gd name="T6" fmla="*/ 124 w 186"/>
                  <a:gd name="T7" fmla="*/ 173 h 181"/>
                  <a:gd name="T8" fmla="*/ 186 w 186"/>
                  <a:gd name="T9" fmla="*/ 107 h 181"/>
                  <a:gd name="T10" fmla="*/ 70 w 186"/>
                  <a:gd name="T11" fmla="*/ 0 h 181"/>
                  <a:gd name="T12" fmla="*/ 7 w 186"/>
                  <a:gd name="T13" fmla="*/ 66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6" h="181">
                    <a:moveTo>
                      <a:pt x="7" y="66"/>
                    </a:moveTo>
                    <a:cubicBezTo>
                      <a:pt x="0" y="74"/>
                      <a:pt x="0" y="86"/>
                      <a:pt x="8" y="93"/>
                    </a:cubicBezTo>
                    <a:cubicBezTo>
                      <a:pt x="97" y="174"/>
                      <a:pt x="97" y="174"/>
                      <a:pt x="97" y="174"/>
                    </a:cubicBezTo>
                    <a:cubicBezTo>
                      <a:pt x="104" y="181"/>
                      <a:pt x="117" y="181"/>
                      <a:pt x="124" y="173"/>
                    </a:cubicBezTo>
                    <a:cubicBezTo>
                      <a:pt x="186" y="107"/>
                      <a:pt x="186" y="107"/>
                      <a:pt x="186" y="107"/>
                    </a:cubicBezTo>
                    <a:cubicBezTo>
                      <a:pt x="70" y="0"/>
                      <a:pt x="70" y="0"/>
                      <a:pt x="70" y="0"/>
                    </a:cubicBezTo>
                    <a:lnTo>
                      <a:pt x="7" y="66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303">
                <a:extLst>
                  <a:ext uri="{FF2B5EF4-FFF2-40B4-BE49-F238E27FC236}">
                    <a16:creationId xmlns:a16="http://schemas.microsoft.com/office/drawing/2014/main" id="{B6DDD711-5FC8-184F-9739-E71BD4F95D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4106" y="5034995"/>
                <a:ext cx="278727" cy="268641"/>
              </a:xfrm>
              <a:custGeom>
                <a:avLst/>
                <a:gdLst>
                  <a:gd name="T0" fmla="*/ 178 w 186"/>
                  <a:gd name="T1" fmla="*/ 88 h 179"/>
                  <a:gd name="T2" fmla="*/ 89 w 186"/>
                  <a:gd name="T3" fmla="*/ 7 h 179"/>
                  <a:gd name="T4" fmla="*/ 62 w 186"/>
                  <a:gd name="T5" fmla="*/ 8 h 179"/>
                  <a:gd name="T6" fmla="*/ 0 w 186"/>
                  <a:gd name="T7" fmla="*/ 73 h 179"/>
                  <a:gd name="T8" fmla="*/ 117 w 186"/>
                  <a:gd name="T9" fmla="*/ 179 h 179"/>
                  <a:gd name="T10" fmla="*/ 179 w 186"/>
                  <a:gd name="T11" fmla="*/ 114 h 179"/>
                  <a:gd name="T12" fmla="*/ 178 w 186"/>
                  <a:gd name="T13" fmla="*/ 88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6" h="179">
                    <a:moveTo>
                      <a:pt x="178" y="88"/>
                    </a:moveTo>
                    <a:cubicBezTo>
                      <a:pt x="89" y="7"/>
                      <a:pt x="89" y="7"/>
                      <a:pt x="89" y="7"/>
                    </a:cubicBezTo>
                    <a:cubicBezTo>
                      <a:pt x="81" y="0"/>
                      <a:pt x="69" y="0"/>
                      <a:pt x="62" y="8"/>
                    </a:cubicBezTo>
                    <a:cubicBezTo>
                      <a:pt x="0" y="73"/>
                      <a:pt x="0" y="73"/>
                      <a:pt x="0" y="73"/>
                    </a:cubicBezTo>
                    <a:cubicBezTo>
                      <a:pt x="117" y="179"/>
                      <a:pt x="117" y="179"/>
                      <a:pt x="117" y="179"/>
                    </a:cubicBezTo>
                    <a:cubicBezTo>
                      <a:pt x="179" y="114"/>
                      <a:pt x="179" y="114"/>
                      <a:pt x="179" y="114"/>
                    </a:cubicBezTo>
                    <a:cubicBezTo>
                      <a:pt x="186" y="107"/>
                      <a:pt x="185" y="95"/>
                      <a:pt x="178" y="88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304">
                <a:extLst>
                  <a:ext uri="{FF2B5EF4-FFF2-40B4-BE49-F238E27FC236}">
                    <a16:creationId xmlns:a16="http://schemas.microsoft.com/office/drawing/2014/main" id="{0B3E3C61-5291-154B-896E-A204F86013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1356" y="5144102"/>
                <a:ext cx="177872" cy="164119"/>
              </a:xfrm>
              <a:custGeom>
                <a:avLst/>
                <a:gdLst>
                  <a:gd name="T0" fmla="*/ 191 w 194"/>
                  <a:gd name="T1" fmla="*/ 179 h 179"/>
                  <a:gd name="T2" fmla="*/ 0 w 194"/>
                  <a:gd name="T3" fmla="*/ 4 h 179"/>
                  <a:gd name="T4" fmla="*/ 3 w 194"/>
                  <a:gd name="T5" fmla="*/ 0 h 179"/>
                  <a:gd name="T6" fmla="*/ 194 w 194"/>
                  <a:gd name="T7" fmla="*/ 174 h 179"/>
                  <a:gd name="T8" fmla="*/ 191 w 194"/>
                  <a:gd name="T9" fmla="*/ 179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4" h="179">
                    <a:moveTo>
                      <a:pt x="191" y="179"/>
                    </a:moveTo>
                    <a:lnTo>
                      <a:pt x="0" y="4"/>
                    </a:lnTo>
                    <a:lnTo>
                      <a:pt x="3" y="0"/>
                    </a:lnTo>
                    <a:lnTo>
                      <a:pt x="194" y="174"/>
                    </a:lnTo>
                    <a:lnTo>
                      <a:pt x="191" y="179"/>
                    </a:lnTo>
                    <a:close/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305">
                <a:extLst>
                  <a:ext uri="{FF2B5EF4-FFF2-40B4-BE49-F238E27FC236}">
                    <a16:creationId xmlns:a16="http://schemas.microsoft.com/office/drawing/2014/main" id="{45A9C92D-6BC8-204B-8C4B-F35137354D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76149" y="5339394"/>
                <a:ext cx="178789" cy="163202"/>
              </a:xfrm>
              <a:custGeom>
                <a:avLst/>
                <a:gdLst>
                  <a:gd name="T0" fmla="*/ 192 w 195"/>
                  <a:gd name="T1" fmla="*/ 178 h 178"/>
                  <a:gd name="T2" fmla="*/ 0 w 195"/>
                  <a:gd name="T3" fmla="*/ 3 h 178"/>
                  <a:gd name="T4" fmla="*/ 4 w 195"/>
                  <a:gd name="T5" fmla="*/ 0 h 178"/>
                  <a:gd name="T6" fmla="*/ 195 w 195"/>
                  <a:gd name="T7" fmla="*/ 173 h 178"/>
                  <a:gd name="T8" fmla="*/ 192 w 195"/>
                  <a:gd name="T9" fmla="*/ 178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5" h="178">
                    <a:moveTo>
                      <a:pt x="192" y="178"/>
                    </a:moveTo>
                    <a:lnTo>
                      <a:pt x="0" y="3"/>
                    </a:lnTo>
                    <a:lnTo>
                      <a:pt x="4" y="0"/>
                    </a:lnTo>
                    <a:lnTo>
                      <a:pt x="195" y="173"/>
                    </a:lnTo>
                    <a:lnTo>
                      <a:pt x="192" y="178"/>
                    </a:lnTo>
                    <a:close/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306">
                <a:extLst>
                  <a:ext uri="{FF2B5EF4-FFF2-40B4-BE49-F238E27FC236}">
                    <a16:creationId xmlns:a16="http://schemas.microsoft.com/office/drawing/2014/main" id="{6D34BF7E-6158-984F-88BC-119796D310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00719" y="4186896"/>
                <a:ext cx="966375" cy="949871"/>
              </a:xfrm>
              <a:custGeom>
                <a:avLst/>
                <a:gdLst>
                  <a:gd name="T0" fmla="*/ 521 w 645"/>
                  <a:gd name="T1" fmla="*/ 108 h 634"/>
                  <a:gd name="T2" fmla="*/ 110 w 645"/>
                  <a:gd name="T3" fmla="*/ 123 h 634"/>
                  <a:gd name="T4" fmla="*/ 124 w 645"/>
                  <a:gd name="T5" fmla="*/ 527 h 634"/>
                  <a:gd name="T6" fmla="*/ 535 w 645"/>
                  <a:gd name="T7" fmla="*/ 512 h 634"/>
                  <a:gd name="T8" fmla="*/ 521 w 645"/>
                  <a:gd name="T9" fmla="*/ 108 h 634"/>
                  <a:gd name="T10" fmla="*/ 275 w 645"/>
                  <a:gd name="T11" fmla="*/ 548 h 634"/>
                  <a:gd name="T12" fmla="*/ 92 w 645"/>
                  <a:gd name="T13" fmla="*/ 270 h 634"/>
                  <a:gd name="T14" fmla="*/ 370 w 645"/>
                  <a:gd name="T15" fmla="*/ 86 h 634"/>
                  <a:gd name="T16" fmla="*/ 554 w 645"/>
                  <a:gd name="T17" fmla="*/ 365 h 634"/>
                  <a:gd name="T18" fmla="*/ 275 w 645"/>
                  <a:gd name="T19" fmla="*/ 548 h 6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5" h="634">
                    <a:moveTo>
                      <a:pt x="521" y="108"/>
                    </a:moveTo>
                    <a:cubicBezTo>
                      <a:pt x="404" y="0"/>
                      <a:pt x="220" y="7"/>
                      <a:pt x="110" y="123"/>
                    </a:cubicBezTo>
                    <a:cubicBezTo>
                      <a:pt x="0" y="238"/>
                      <a:pt x="7" y="419"/>
                      <a:pt x="124" y="527"/>
                    </a:cubicBezTo>
                    <a:cubicBezTo>
                      <a:pt x="242" y="634"/>
                      <a:pt x="426" y="628"/>
                      <a:pt x="535" y="512"/>
                    </a:cubicBezTo>
                    <a:cubicBezTo>
                      <a:pt x="645" y="396"/>
                      <a:pt x="638" y="215"/>
                      <a:pt x="521" y="108"/>
                    </a:cubicBezTo>
                    <a:close/>
                    <a:moveTo>
                      <a:pt x="275" y="548"/>
                    </a:moveTo>
                    <a:cubicBezTo>
                      <a:pt x="148" y="522"/>
                      <a:pt x="65" y="398"/>
                      <a:pt x="92" y="270"/>
                    </a:cubicBezTo>
                    <a:cubicBezTo>
                      <a:pt x="118" y="142"/>
                      <a:pt x="242" y="60"/>
                      <a:pt x="370" y="86"/>
                    </a:cubicBezTo>
                    <a:cubicBezTo>
                      <a:pt x="498" y="113"/>
                      <a:pt x="580" y="237"/>
                      <a:pt x="554" y="365"/>
                    </a:cubicBezTo>
                    <a:cubicBezTo>
                      <a:pt x="527" y="492"/>
                      <a:pt x="403" y="575"/>
                      <a:pt x="275" y="548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307">
                <a:extLst>
                  <a:ext uri="{FF2B5EF4-FFF2-40B4-BE49-F238E27FC236}">
                    <a16:creationId xmlns:a16="http://schemas.microsoft.com/office/drawing/2014/main" id="{943104CE-560A-4643-93FC-98974DC05D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83237" y="4267580"/>
                <a:ext cx="801339" cy="788503"/>
              </a:xfrm>
              <a:custGeom>
                <a:avLst/>
                <a:gdLst>
                  <a:gd name="T0" fmla="*/ 103 w 535"/>
                  <a:gd name="T1" fmla="*/ 437 h 526"/>
                  <a:gd name="T2" fmla="*/ 91 w 535"/>
                  <a:gd name="T3" fmla="*/ 102 h 526"/>
                  <a:gd name="T4" fmla="*/ 432 w 535"/>
                  <a:gd name="T5" fmla="*/ 90 h 526"/>
                  <a:gd name="T6" fmla="*/ 444 w 535"/>
                  <a:gd name="T7" fmla="*/ 425 h 526"/>
                  <a:gd name="T8" fmla="*/ 103 w 535"/>
                  <a:gd name="T9" fmla="*/ 437 h 526"/>
                  <a:gd name="T10" fmla="*/ 424 w 535"/>
                  <a:gd name="T11" fmla="*/ 98 h 526"/>
                  <a:gd name="T12" fmla="*/ 100 w 535"/>
                  <a:gd name="T13" fmla="*/ 109 h 526"/>
                  <a:gd name="T14" fmla="*/ 111 w 535"/>
                  <a:gd name="T15" fmla="*/ 429 h 526"/>
                  <a:gd name="T16" fmla="*/ 436 w 535"/>
                  <a:gd name="T17" fmla="*/ 417 h 526"/>
                  <a:gd name="T18" fmla="*/ 424 w 535"/>
                  <a:gd name="T19" fmla="*/ 98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35" h="526">
                    <a:moveTo>
                      <a:pt x="103" y="437"/>
                    </a:moveTo>
                    <a:cubicBezTo>
                      <a:pt x="6" y="348"/>
                      <a:pt x="0" y="198"/>
                      <a:pt x="91" y="102"/>
                    </a:cubicBezTo>
                    <a:cubicBezTo>
                      <a:pt x="182" y="6"/>
                      <a:pt x="335" y="0"/>
                      <a:pt x="432" y="90"/>
                    </a:cubicBezTo>
                    <a:cubicBezTo>
                      <a:pt x="529" y="179"/>
                      <a:pt x="535" y="329"/>
                      <a:pt x="444" y="425"/>
                    </a:cubicBezTo>
                    <a:cubicBezTo>
                      <a:pt x="353" y="521"/>
                      <a:pt x="200" y="526"/>
                      <a:pt x="103" y="437"/>
                    </a:cubicBezTo>
                    <a:close/>
                    <a:moveTo>
                      <a:pt x="424" y="98"/>
                    </a:moveTo>
                    <a:cubicBezTo>
                      <a:pt x="332" y="13"/>
                      <a:pt x="186" y="18"/>
                      <a:pt x="100" y="109"/>
                    </a:cubicBezTo>
                    <a:cubicBezTo>
                      <a:pt x="13" y="201"/>
                      <a:pt x="18" y="344"/>
                      <a:pt x="111" y="429"/>
                    </a:cubicBezTo>
                    <a:cubicBezTo>
                      <a:pt x="203" y="514"/>
                      <a:pt x="349" y="509"/>
                      <a:pt x="436" y="417"/>
                    </a:cubicBezTo>
                    <a:cubicBezTo>
                      <a:pt x="522" y="326"/>
                      <a:pt x="517" y="183"/>
                      <a:pt x="424" y="98"/>
                    </a:cubicBez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7" name="TextBox 72">
              <a:extLst>
                <a:ext uri="{FF2B5EF4-FFF2-40B4-BE49-F238E27FC236}">
                  <a16:creationId xmlns:a16="http://schemas.microsoft.com/office/drawing/2014/main" id="{3B87E552-4662-2944-A9E0-1C63545FCEF8}"/>
                </a:ext>
              </a:extLst>
            </p:cNvPr>
            <p:cNvSpPr txBox="1"/>
            <p:nvPr/>
          </p:nvSpPr>
          <p:spPr>
            <a:xfrm>
              <a:off x="5251308" y="5546111"/>
              <a:ext cx="844692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 dirty="0">
                  <a:solidFill>
                    <a:schemeClr val="tx2"/>
                  </a:solidFill>
                </a:rPr>
                <a:t>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625470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7B7FF85-0869-3348-90FD-BF53A24A27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Genetic</a:t>
            </a:r>
            <a:r>
              <a:rPr kumimoji="1" lang="zh-CN" altLang="en-US" dirty="0"/>
              <a:t> </a:t>
            </a:r>
            <a:r>
              <a:rPr kumimoji="1" lang="en-US" altLang="zh-CN" dirty="0"/>
              <a:t>Algorithm</a:t>
            </a:r>
            <a:endParaRPr kumimoji="1" lang="zh-CN" altLang="en-US" dirty="0"/>
          </a:p>
        </p:txBody>
      </p:sp>
      <p:grpSp>
        <p:nvGrpSpPr>
          <p:cNvPr id="11" name="组合 10">
            <a:extLst>
              <a:ext uri="{FF2B5EF4-FFF2-40B4-BE49-F238E27FC236}">
                <a16:creationId xmlns:a16="http://schemas.microsoft.com/office/drawing/2014/main" id="{9FCD9E2F-F4E7-F847-88BB-9F488184F1E9}"/>
              </a:ext>
            </a:extLst>
          </p:cNvPr>
          <p:cNvGrpSpPr/>
          <p:nvPr/>
        </p:nvGrpSpPr>
        <p:grpSpPr>
          <a:xfrm>
            <a:off x="6717922" y="902277"/>
            <a:ext cx="5147133" cy="5689822"/>
            <a:chOff x="261704" y="998109"/>
            <a:chExt cx="5147133" cy="5689822"/>
          </a:xfrm>
        </p:grpSpPr>
        <p:pic>
          <p:nvPicPr>
            <p:cNvPr id="6" name="图片 5">
              <a:extLst>
                <a:ext uri="{FF2B5EF4-FFF2-40B4-BE49-F238E27FC236}">
                  <a16:creationId xmlns:a16="http://schemas.microsoft.com/office/drawing/2014/main" id="{BC0ED56C-4A70-B34F-8FF0-5D5D469CDF1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58157" y="1361836"/>
              <a:ext cx="4838700" cy="5219700"/>
            </a:xfrm>
            <a:prstGeom prst="rect">
              <a:avLst/>
            </a:prstGeom>
          </p:spPr>
        </p:pic>
        <p:sp>
          <p:nvSpPr>
            <p:cNvPr id="9" name="Rectangle 35">
              <a:extLst>
                <a:ext uri="{FF2B5EF4-FFF2-40B4-BE49-F238E27FC236}">
                  <a16:creationId xmlns:a16="http://schemas.microsoft.com/office/drawing/2014/main" id="{9C7D1860-A229-8F4C-B7D8-3C5217CEB50E}"/>
                </a:ext>
              </a:extLst>
            </p:cNvPr>
            <p:cNvSpPr/>
            <p:nvPr/>
          </p:nvSpPr>
          <p:spPr>
            <a:xfrm>
              <a:off x="261704" y="1209508"/>
              <a:ext cx="5147133" cy="5478423"/>
            </a:xfrm>
            <a:prstGeom prst="rect">
              <a:avLst/>
            </a:prstGeom>
            <a:noFill/>
            <a:ln w="12700">
              <a:solidFill>
                <a:schemeClr val="accent1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dirty="0">
                <a:latin typeface="+mn-ea"/>
              </a:endParaRPr>
            </a:p>
          </p:txBody>
        </p:sp>
        <p:sp>
          <p:nvSpPr>
            <p:cNvPr id="10" name="TextBox 41">
              <a:extLst>
                <a:ext uri="{FF2B5EF4-FFF2-40B4-BE49-F238E27FC236}">
                  <a16:creationId xmlns:a16="http://schemas.microsoft.com/office/drawing/2014/main" id="{7B685D3F-BBEA-5845-976B-8110D38CF05B}"/>
                </a:ext>
              </a:extLst>
            </p:cNvPr>
            <p:cNvSpPr txBox="1"/>
            <p:nvPr/>
          </p:nvSpPr>
          <p:spPr>
            <a:xfrm>
              <a:off x="1042745" y="998109"/>
              <a:ext cx="2904386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144000" indent="-144000">
                <a:buFont typeface="Arial" panose="020B0604020202020204" pitchFamily="34" charset="0"/>
                <a:buChar char="•"/>
                <a:defRPr sz="1400"/>
              </a:lvl1pPr>
            </a:lstStyle>
            <a:p>
              <a:pPr marL="0" indent="0" algn="ctr">
                <a:buNone/>
              </a:pPr>
              <a:r>
                <a:rPr lang="en-US" altLang="zh-CN" sz="1800" dirty="0">
                  <a:latin typeface="+mn-ea"/>
                  <a:ea typeface="+mn-ea"/>
                </a:rPr>
                <a:t>Method</a:t>
              </a:r>
              <a:r>
                <a:rPr lang="en-US" altLang="zh-CN" sz="1800" dirty="0">
                  <a:latin typeface="+mn-ea"/>
                </a:rPr>
                <a:t>:</a:t>
              </a:r>
              <a:r>
                <a:rPr lang="zh-CN" altLang="en-US" sz="1800" dirty="0">
                  <a:latin typeface="+mn-ea"/>
                </a:rPr>
                <a:t> </a:t>
              </a:r>
              <a:r>
                <a:rPr lang="en-US" altLang="zh-CN" sz="1800" dirty="0">
                  <a:latin typeface="+mn-ea"/>
                </a:rPr>
                <a:t>Genetic Algorithm</a:t>
              </a:r>
              <a:endParaRPr lang="zh-CN" altLang="en-US" sz="1800" dirty="0">
                <a:latin typeface="+mn-ea"/>
                <a:ea typeface="+mn-ea"/>
              </a:endParaRPr>
            </a:p>
          </p:txBody>
        </p:sp>
      </p:grpSp>
      <p:grpSp>
        <p:nvGrpSpPr>
          <p:cNvPr id="25" name="组合 24">
            <a:extLst>
              <a:ext uri="{FF2B5EF4-FFF2-40B4-BE49-F238E27FC236}">
                <a16:creationId xmlns:a16="http://schemas.microsoft.com/office/drawing/2014/main" id="{209E73CF-F3E2-D74E-8ECC-4CBDE6D2D254}"/>
              </a:ext>
            </a:extLst>
          </p:cNvPr>
          <p:cNvGrpSpPr/>
          <p:nvPr/>
        </p:nvGrpSpPr>
        <p:grpSpPr>
          <a:xfrm>
            <a:off x="138640" y="1201602"/>
            <a:ext cx="6632855" cy="5390497"/>
            <a:chOff x="140788" y="1560217"/>
            <a:chExt cx="6675361" cy="5390497"/>
          </a:xfrm>
        </p:grpSpPr>
        <p:grpSp>
          <p:nvGrpSpPr>
            <p:cNvPr id="18" name="Group 109">
              <a:extLst>
                <a:ext uri="{FF2B5EF4-FFF2-40B4-BE49-F238E27FC236}">
                  <a16:creationId xmlns:a16="http://schemas.microsoft.com/office/drawing/2014/main" id="{844FF1BF-FD51-7E46-8EE7-F12094457BBE}"/>
                </a:ext>
              </a:extLst>
            </p:cNvPr>
            <p:cNvGrpSpPr/>
            <p:nvPr/>
          </p:nvGrpSpPr>
          <p:grpSpPr>
            <a:xfrm>
              <a:off x="140788" y="3730466"/>
              <a:ext cx="596274" cy="461457"/>
              <a:chOff x="1249306" y="3284668"/>
              <a:chExt cx="596274" cy="461457"/>
            </a:xfrm>
            <a:solidFill>
              <a:schemeClr val="accent1"/>
            </a:solidFill>
          </p:grpSpPr>
          <p:sp>
            <p:nvSpPr>
              <p:cNvPr id="19" name="Oval 110">
                <a:extLst>
                  <a:ext uri="{FF2B5EF4-FFF2-40B4-BE49-F238E27FC236}">
                    <a16:creationId xmlns:a16="http://schemas.microsoft.com/office/drawing/2014/main" id="{D29EB311-6488-8046-9CFE-A90BE2F7E077}"/>
                  </a:ext>
                </a:extLst>
              </p:cNvPr>
              <p:cNvSpPr/>
              <p:nvPr/>
            </p:nvSpPr>
            <p:spPr>
              <a:xfrm>
                <a:off x="1316715" y="3284668"/>
                <a:ext cx="461457" cy="461457"/>
              </a:xfrm>
              <a:prstGeom prst="ellipse">
                <a:avLst/>
              </a:prstGeom>
              <a:grpFill/>
              <a:ln w="19050"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TextBox 111">
                <a:extLst>
                  <a:ext uri="{FF2B5EF4-FFF2-40B4-BE49-F238E27FC236}">
                    <a16:creationId xmlns:a16="http://schemas.microsoft.com/office/drawing/2014/main" id="{B5862E07-FD1D-E64D-9624-074DB70DE097}"/>
                  </a:ext>
                </a:extLst>
              </p:cNvPr>
              <p:cNvSpPr txBox="1"/>
              <p:nvPr/>
            </p:nvSpPr>
            <p:spPr>
              <a:xfrm>
                <a:off x="1249306" y="3361508"/>
                <a:ext cx="596274" cy="307777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en-US" sz="1400" b="1" dirty="0">
                    <a:solidFill>
                      <a:schemeClr val="bg1"/>
                    </a:solidFill>
                    <a:latin typeface="+mj-lt"/>
                  </a:rPr>
                  <a:t>02</a:t>
                </a:r>
              </a:p>
            </p:txBody>
          </p:sp>
        </p:grpSp>
        <p:grpSp>
          <p:nvGrpSpPr>
            <p:cNvPr id="24" name="组合 23">
              <a:extLst>
                <a:ext uri="{FF2B5EF4-FFF2-40B4-BE49-F238E27FC236}">
                  <a16:creationId xmlns:a16="http://schemas.microsoft.com/office/drawing/2014/main" id="{2CFA0074-45AB-F340-A6E8-DEC1B3912C82}"/>
                </a:ext>
              </a:extLst>
            </p:cNvPr>
            <p:cNvGrpSpPr/>
            <p:nvPr/>
          </p:nvGrpSpPr>
          <p:grpSpPr>
            <a:xfrm>
              <a:off x="146369" y="1560217"/>
              <a:ext cx="6669780" cy="5390497"/>
              <a:chOff x="146369" y="1560217"/>
              <a:chExt cx="6669780" cy="5390497"/>
            </a:xfrm>
          </p:grpSpPr>
          <p:sp>
            <p:nvSpPr>
              <p:cNvPr id="8" name="矩形 7">
                <a:extLst>
                  <a:ext uri="{FF2B5EF4-FFF2-40B4-BE49-F238E27FC236}">
                    <a16:creationId xmlns:a16="http://schemas.microsoft.com/office/drawing/2014/main" id="{92CADE5B-D1E8-764F-8028-931FBA5A3716}"/>
                  </a:ext>
                </a:extLst>
              </p:cNvPr>
              <p:cNvSpPr/>
              <p:nvPr/>
            </p:nvSpPr>
            <p:spPr>
              <a:xfrm>
                <a:off x="750153" y="1595402"/>
                <a:ext cx="6065996" cy="535531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kumimoji="1" lang="en-US" altLang="zh-CN" dirty="0">
                    <a:solidFill>
                      <a:schemeClr val="accent3">
                        <a:lumMod val="2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Step 0</a:t>
                </a:r>
              </a:p>
              <a:p>
                <a:pPr>
                  <a:tabLst>
                    <a:tab pos="563563" algn="l"/>
                  </a:tabLst>
                </a:pPr>
                <a:r>
                  <a:rPr kumimoji="1" lang="en-US" altLang="zh-CN" dirty="0">
                    <a:solidFill>
                      <a:schemeClr val="accent3">
                        <a:lumMod val="2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	k=1</a:t>
                </a:r>
              </a:p>
              <a:p>
                <a:pPr>
                  <a:tabLst>
                    <a:tab pos="563563" algn="l"/>
                  </a:tabLst>
                </a:pPr>
                <a:r>
                  <a:rPr kumimoji="1" lang="en-US" altLang="zh-CN" dirty="0">
                    <a:solidFill>
                      <a:schemeClr val="accent3">
                        <a:lumMod val="2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	Select N schedules S1,1 ,... , S1,N</a:t>
                </a:r>
                <a:r>
                  <a:rPr kumimoji="1" lang="zh-CN" altLang="en-US" dirty="0">
                    <a:solidFill>
                      <a:schemeClr val="accent3">
                        <a:lumMod val="2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 </a:t>
                </a:r>
                <a:r>
                  <a:rPr kumimoji="1" lang="en-US" altLang="zh-CN" dirty="0">
                    <a:solidFill>
                      <a:schemeClr val="accent3">
                        <a:lumMod val="2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randomly</a:t>
                </a:r>
              </a:p>
              <a:p>
                <a:endParaRPr kumimoji="1" lang="en-US" altLang="zh-CN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>
                  <a:tabLst>
                    <a:tab pos="563563" algn="l"/>
                  </a:tabLst>
                </a:pPr>
                <a:r>
                  <a:rPr kumimoji="1" lang="en-US" altLang="zh-CN" dirty="0">
                    <a:solidFill>
                      <a:schemeClr val="accent1">
                        <a:lumMod val="7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Step</a:t>
                </a:r>
                <a:r>
                  <a:rPr kumimoji="1" lang="zh-CN" altLang="en-US" dirty="0">
                    <a:solidFill>
                      <a:schemeClr val="accent1">
                        <a:lumMod val="7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kumimoji="1" lang="en-US" altLang="zh-CN" dirty="0">
                    <a:solidFill>
                      <a:schemeClr val="accent1">
                        <a:lumMod val="7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</a:t>
                </a:r>
              </a:p>
              <a:p>
                <a:pPr>
                  <a:tabLst>
                    <a:tab pos="563563" algn="l"/>
                  </a:tabLst>
                </a:pPr>
                <a:r>
                  <a:rPr kumimoji="1" lang="en-US" altLang="zh-CN" dirty="0">
                    <a:solidFill>
                      <a:schemeClr val="accent1">
                        <a:lumMod val="7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	Select N schedules Sk+1,1 ,... , Sk+1,N </a:t>
                </a:r>
                <a:r>
                  <a:rPr kumimoji="1" lang="zh-CN" altLang="en-US" dirty="0">
                    <a:solidFill>
                      <a:schemeClr val="accent1">
                        <a:lumMod val="7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kumimoji="1" lang="en-US" altLang="zh-CN" dirty="0">
                    <a:solidFill>
                      <a:schemeClr val="accent1">
                        <a:lumMod val="7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using</a:t>
                </a:r>
                <a:r>
                  <a:rPr kumimoji="1" lang="zh-CN" altLang="en-US" dirty="0">
                    <a:solidFill>
                      <a:schemeClr val="accent1">
                        <a:lumMod val="7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kumimoji="1" lang="en-US" altLang="zh-CN" dirty="0">
                    <a:solidFill>
                      <a:schemeClr val="accent1">
                        <a:lumMod val="7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tournament</a:t>
                </a:r>
              </a:p>
              <a:p>
                <a:pPr>
                  <a:tabLst>
                    <a:tab pos="563563" algn="l"/>
                  </a:tabLst>
                </a:pPr>
                <a:r>
                  <a:rPr kumimoji="1" lang="en-US" altLang="zh-CN" dirty="0">
                    <a:solidFill>
                      <a:schemeClr val="accent1">
                        <a:lumMod val="7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	Evaluate each individual of the population</a:t>
                </a:r>
              </a:p>
              <a:p>
                <a:pPr>
                  <a:tabLst>
                    <a:tab pos="563563" algn="l"/>
                  </a:tabLst>
                </a:pPr>
                <a:endParaRPr kumimoji="1" lang="en-US" altLang="zh-CN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>
                  <a:tabLst>
                    <a:tab pos="563563" algn="l"/>
                  </a:tabLst>
                </a:pPr>
                <a:r>
                  <a:rPr kumimoji="1" lang="en-US" altLang="zh-CN" dirty="0">
                    <a:solidFill>
                      <a:schemeClr val="tx2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Step 2</a:t>
                </a:r>
              </a:p>
              <a:p>
                <a:pPr>
                  <a:tabLst>
                    <a:tab pos="563563" algn="l"/>
                  </a:tabLst>
                </a:pPr>
                <a:r>
                  <a:rPr kumimoji="1" lang="en-US" altLang="zh-CN" dirty="0">
                    <a:solidFill>
                      <a:schemeClr val="tx2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	Create new individuals by mating individuals in the</a:t>
                </a:r>
                <a:r>
                  <a:rPr kumimoji="1" lang="zh-CN" altLang="en-US" dirty="0">
                    <a:solidFill>
                      <a:schemeClr val="tx2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kumimoji="1" lang="en-US" altLang="zh-CN" dirty="0">
                    <a:solidFill>
                      <a:schemeClr val="tx2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			current population using crossover and mutation</a:t>
                </a:r>
              </a:p>
              <a:p>
                <a:pPr>
                  <a:tabLst>
                    <a:tab pos="563563" algn="l"/>
                  </a:tabLst>
                </a:pPr>
                <a:r>
                  <a:rPr kumimoji="1" lang="en-US" altLang="zh-CN" dirty="0">
                    <a:solidFill>
                      <a:schemeClr val="tx2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	Evaluate the new members and insert them into the 			population Sk+1,N+1 ,... , Sk+1,5N</a:t>
                </a:r>
              </a:p>
              <a:p>
                <a:pPr>
                  <a:tabLst>
                    <a:tab pos="563563" algn="l"/>
                  </a:tabLst>
                </a:pPr>
                <a:endParaRPr kumimoji="1" lang="en-US" altLang="zh-CN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>
                  <a:tabLst>
                    <a:tab pos="563563" algn="l"/>
                  </a:tabLst>
                </a:pPr>
                <a:r>
                  <a:rPr kumimoji="1" lang="en-US" altLang="zh-CN" dirty="0">
                    <a:solidFill>
                      <a:schemeClr val="accent3">
                        <a:lumMod val="50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Step 3	</a:t>
                </a:r>
              </a:p>
              <a:p>
                <a:pPr>
                  <a:tabLst>
                    <a:tab pos="563563" algn="l"/>
                  </a:tabLst>
                </a:pPr>
                <a:r>
                  <a:rPr kumimoji="1" lang="en-US" altLang="zh-CN" dirty="0">
                    <a:solidFill>
                      <a:schemeClr val="accent3">
                        <a:lumMod val="50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	k = k+1</a:t>
                </a:r>
              </a:p>
              <a:p>
                <a:pPr>
                  <a:tabLst>
                    <a:tab pos="563563" algn="l"/>
                  </a:tabLst>
                </a:pPr>
                <a:r>
                  <a:rPr kumimoji="1" lang="en-US" altLang="zh-CN" dirty="0">
                    <a:solidFill>
                      <a:schemeClr val="accent3">
                        <a:lumMod val="50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	If stopping condition = true </a:t>
                </a:r>
                <a:br>
                  <a:rPr kumimoji="1" lang="en-US" altLang="zh-CN" dirty="0">
                    <a:solidFill>
                      <a:schemeClr val="accent3">
                        <a:lumMod val="50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kumimoji="1" lang="en-US" altLang="zh-CN" dirty="0">
                    <a:solidFill>
                      <a:schemeClr val="accent3">
                        <a:lumMod val="50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	then return the best individual as the solution and STOP</a:t>
                </a:r>
              </a:p>
              <a:p>
                <a:pPr>
                  <a:tabLst>
                    <a:tab pos="563563" algn="l"/>
                  </a:tabLst>
                </a:pPr>
                <a:r>
                  <a:rPr kumimoji="1" lang="en-US" altLang="zh-CN" dirty="0">
                    <a:solidFill>
                      <a:schemeClr val="accent3">
                        <a:lumMod val="50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	else go to Step 1</a:t>
                </a:r>
              </a:p>
            </p:txBody>
          </p:sp>
          <p:grpSp>
            <p:nvGrpSpPr>
              <p:cNvPr id="12" name="Group 103">
                <a:extLst>
                  <a:ext uri="{FF2B5EF4-FFF2-40B4-BE49-F238E27FC236}">
                    <a16:creationId xmlns:a16="http://schemas.microsoft.com/office/drawing/2014/main" id="{4B63875B-ED31-C34D-9BB9-4554A77BE610}"/>
                  </a:ext>
                </a:extLst>
              </p:cNvPr>
              <p:cNvGrpSpPr/>
              <p:nvPr/>
            </p:nvGrpSpPr>
            <p:grpSpPr>
              <a:xfrm>
                <a:off x="146369" y="1560217"/>
                <a:ext cx="585112" cy="461457"/>
                <a:chOff x="1254887" y="1871668"/>
                <a:chExt cx="585112" cy="461457"/>
              </a:xfrm>
              <a:solidFill>
                <a:schemeClr val="accent3">
                  <a:lumMod val="25000"/>
                </a:schemeClr>
              </a:solidFill>
            </p:grpSpPr>
            <p:sp>
              <p:nvSpPr>
                <p:cNvPr id="13" name="Oval 104">
                  <a:extLst>
                    <a:ext uri="{FF2B5EF4-FFF2-40B4-BE49-F238E27FC236}">
                      <a16:creationId xmlns:a16="http://schemas.microsoft.com/office/drawing/2014/main" id="{8DE34A2F-BD3A-494E-AE7E-311CC221C6A4}"/>
                    </a:ext>
                  </a:extLst>
                </p:cNvPr>
                <p:cNvSpPr/>
                <p:nvPr/>
              </p:nvSpPr>
              <p:spPr>
                <a:xfrm>
                  <a:off x="1316715" y="1871668"/>
                  <a:ext cx="461457" cy="461457"/>
                </a:xfrm>
                <a:prstGeom prst="ellipse">
                  <a:avLst/>
                </a:prstGeom>
                <a:grpFill/>
                <a:ln w="19050">
                  <a:solidFill>
                    <a:schemeClr val="bg1">
                      <a:lumMod val="9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4" name="TextBox 105">
                  <a:extLst>
                    <a:ext uri="{FF2B5EF4-FFF2-40B4-BE49-F238E27FC236}">
                      <a16:creationId xmlns:a16="http://schemas.microsoft.com/office/drawing/2014/main" id="{E316DD00-6912-AE45-A030-13113D5B5308}"/>
                    </a:ext>
                  </a:extLst>
                </p:cNvPr>
                <p:cNvSpPr txBox="1"/>
                <p:nvPr/>
              </p:nvSpPr>
              <p:spPr>
                <a:xfrm>
                  <a:off x="1254887" y="1948508"/>
                  <a:ext cx="585112" cy="307777"/>
                </a:xfrm>
                <a:prstGeom prst="rect">
                  <a:avLst/>
                </a:prstGeom>
                <a:noFill/>
              </p:spPr>
              <p:txBody>
                <a:bodyPr wrap="square" rtlCol="0" anchor="ctr">
                  <a:sp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chemeClr val="bg1"/>
                      </a:solidFill>
                      <a:latin typeface="+mj-lt"/>
                    </a:rPr>
                    <a:t>00</a:t>
                  </a:r>
                </a:p>
              </p:txBody>
            </p:sp>
          </p:grpSp>
          <p:grpSp>
            <p:nvGrpSpPr>
              <p:cNvPr id="15" name="Group 106">
                <a:extLst>
                  <a:ext uri="{FF2B5EF4-FFF2-40B4-BE49-F238E27FC236}">
                    <a16:creationId xmlns:a16="http://schemas.microsoft.com/office/drawing/2014/main" id="{AD52C777-9548-8040-A5FC-FE24372D87AC}"/>
                  </a:ext>
                </a:extLst>
              </p:cNvPr>
              <p:cNvGrpSpPr/>
              <p:nvPr/>
            </p:nvGrpSpPr>
            <p:grpSpPr>
              <a:xfrm>
                <a:off x="146369" y="2652483"/>
                <a:ext cx="585112" cy="461457"/>
                <a:chOff x="1254887" y="2578168"/>
                <a:chExt cx="585112" cy="461457"/>
              </a:xfrm>
              <a:solidFill>
                <a:schemeClr val="accent1">
                  <a:lumMod val="75000"/>
                </a:schemeClr>
              </a:solidFill>
            </p:grpSpPr>
            <p:sp>
              <p:nvSpPr>
                <p:cNvPr id="16" name="Oval 107">
                  <a:extLst>
                    <a:ext uri="{FF2B5EF4-FFF2-40B4-BE49-F238E27FC236}">
                      <a16:creationId xmlns:a16="http://schemas.microsoft.com/office/drawing/2014/main" id="{BBD05954-9B36-C641-A798-5FDD0EC3F9C5}"/>
                    </a:ext>
                  </a:extLst>
                </p:cNvPr>
                <p:cNvSpPr/>
                <p:nvPr/>
              </p:nvSpPr>
              <p:spPr>
                <a:xfrm>
                  <a:off x="1316715" y="2578168"/>
                  <a:ext cx="461457" cy="461457"/>
                </a:xfrm>
                <a:prstGeom prst="ellipse">
                  <a:avLst/>
                </a:prstGeom>
                <a:grpFill/>
                <a:ln w="19050">
                  <a:solidFill>
                    <a:schemeClr val="bg1">
                      <a:lumMod val="9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7" name="TextBox 108">
                  <a:extLst>
                    <a:ext uri="{FF2B5EF4-FFF2-40B4-BE49-F238E27FC236}">
                      <a16:creationId xmlns:a16="http://schemas.microsoft.com/office/drawing/2014/main" id="{C53EC18D-1E41-0E44-8BC7-0F82BE5FF00E}"/>
                    </a:ext>
                  </a:extLst>
                </p:cNvPr>
                <p:cNvSpPr txBox="1"/>
                <p:nvPr/>
              </p:nvSpPr>
              <p:spPr>
                <a:xfrm>
                  <a:off x="1254887" y="2655008"/>
                  <a:ext cx="585112" cy="307777"/>
                </a:xfrm>
                <a:prstGeom prst="rect">
                  <a:avLst/>
                </a:prstGeom>
                <a:noFill/>
              </p:spPr>
              <p:txBody>
                <a:bodyPr wrap="square" rtlCol="0" anchor="ctr">
                  <a:sp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chemeClr val="bg1"/>
                      </a:solidFill>
                      <a:latin typeface="+mj-lt"/>
                    </a:rPr>
                    <a:t>01</a:t>
                  </a:r>
                </a:p>
              </p:txBody>
            </p:sp>
          </p:grpSp>
          <p:grpSp>
            <p:nvGrpSpPr>
              <p:cNvPr id="21" name="Group 112">
                <a:extLst>
                  <a:ext uri="{FF2B5EF4-FFF2-40B4-BE49-F238E27FC236}">
                    <a16:creationId xmlns:a16="http://schemas.microsoft.com/office/drawing/2014/main" id="{173E99EE-7E72-124F-964F-0CD7537E69D9}"/>
                  </a:ext>
                </a:extLst>
              </p:cNvPr>
              <p:cNvGrpSpPr/>
              <p:nvPr/>
            </p:nvGrpSpPr>
            <p:grpSpPr>
              <a:xfrm>
                <a:off x="146369" y="5379941"/>
                <a:ext cx="585112" cy="461457"/>
                <a:chOff x="1254887" y="3991168"/>
                <a:chExt cx="585112" cy="461457"/>
              </a:xfrm>
              <a:solidFill>
                <a:schemeClr val="accent3">
                  <a:lumMod val="50000"/>
                </a:schemeClr>
              </a:solidFill>
            </p:grpSpPr>
            <p:sp>
              <p:nvSpPr>
                <p:cNvPr id="22" name="Oval 113">
                  <a:extLst>
                    <a:ext uri="{FF2B5EF4-FFF2-40B4-BE49-F238E27FC236}">
                      <a16:creationId xmlns:a16="http://schemas.microsoft.com/office/drawing/2014/main" id="{BE421CB8-5885-AB48-A35E-538408AEA4E3}"/>
                    </a:ext>
                  </a:extLst>
                </p:cNvPr>
                <p:cNvSpPr/>
                <p:nvPr/>
              </p:nvSpPr>
              <p:spPr>
                <a:xfrm>
                  <a:off x="1316715" y="3991168"/>
                  <a:ext cx="461457" cy="461457"/>
                </a:xfrm>
                <a:prstGeom prst="ellipse">
                  <a:avLst/>
                </a:prstGeom>
                <a:grpFill/>
                <a:ln w="19050">
                  <a:solidFill>
                    <a:schemeClr val="bg1">
                      <a:lumMod val="9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3" name="TextBox 114">
                  <a:extLst>
                    <a:ext uri="{FF2B5EF4-FFF2-40B4-BE49-F238E27FC236}">
                      <a16:creationId xmlns:a16="http://schemas.microsoft.com/office/drawing/2014/main" id="{017BD984-D18D-234B-A4B4-6551B4620207}"/>
                    </a:ext>
                  </a:extLst>
                </p:cNvPr>
                <p:cNvSpPr txBox="1"/>
                <p:nvPr/>
              </p:nvSpPr>
              <p:spPr>
                <a:xfrm>
                  <a:off x="1254887" y="4068008"/>
                  <a:ext cx="585112" cy="307777"/>
                </a:xfrm>
                <a:prstGeom prst="rect">
                  <a:avLst/>
                </a:prstGeom>
                <a:noFill/>
              </p:spPr>
              <p:txBody>
                <a:bodyPr wrap="square" rtlCol="0" anchor="ctr">
                  <a:sp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chemeClr val="bg1"/>
                      </a:solidFill>
                      <a:latin typeface="+mj-lt"/>
                    </a:rPr>
                    <a:t>03</a:t>
                  </a: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8552374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主题1">
  <a:themeElements>
    <a:clrScheme name="SEP">
      <a:dk1>
        <a:srgbClr val="000000"/>
      </a:dk1>
      <a:lt1>
        <a:sysClr val="window" lastClr="FFFFFF"/>
      </a:lt1>
      <a:dk2>
        <a:srgbClr val="1F497D"/>
      </a:dk2>
      <a:lt2>
        <a:srgbClr val="E3DEDC"/>
      </a:lt2>
      <a:accent1>
        <a:srgbClr val="1F497D"/>
      </a:accent1>
      <a:accent2>
        <a:srgbClr val="9AB7D9"/>
      </a:accent2>
      <a:accent3>
        <a:srgbClr val="C9D7E4"/>
      </a:accent3>
      <a:accent4>
        <a:srgbClr val="7C7C7C"/>
      </a:accent4>
      <a:accent5>
        <a:srgbClr val="C3C3C3"/>
      </a:accent5>
      <a:accent6>
        <a:srgbClr val="D9D9D9"/>
      </a:accent6>
      <a:hlink>
        <a:srgbClr val="FFC000"/>
      </a:hlink>
      <a:folHlink>
        <a:srgbClr val="0033CC"/>
      </a:folHlink>
    </a:clrScheme>
    <a:fontScheme name="华文楷体 + Calibri">
      <a:majorFont>
        <a:latin typeface="Calibri"/>
        <a:ea typeface="华文楷体"/>
        <a:cs typeface=""/>
      </a:majorFont>
      <a:minorFont>
        <a:latin typeface="Calibri"/>
        <a:ea typeface="华文楷体"/>
        <a:cs typeface="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主题1" id="{403DEDF5-FCDA-6948-AA5C-AABB37E3B70A}" vid="{E6828EF2-0AD1-AA49-90A2-F4FA56E1959B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985</TotalTime>
  <Words>307</Words>
  <Application>Microsoft Office PowerPoint</Application>
  <PresentationFormat>Widescreen</PresentationFormat>
  <Paragraphs>95</Paragraphs>
  <Slides>10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9" baseType="lpstr">
      <vt:lpstr>华文楷体</vt:lpstr>
      <vt:lpstr>宋体</vt:lpstr>
      <vt:lpstr>微软雅黑</vt:lpstr>
      <vt:lpstr>等线</vt:lpstr>
      <vt:lpstr>Arial</vt:lpstr>
      <vt:lpstr>Calibri</vt:lpstr>
      <vt:lpstr>Wingdings</vt:lpstr>
      <vt:lpstr>主题1</vt:lpstr>
      <vt:lpstr>think-cell Slide</vt:lpstr>
      <vt:lpstr>PowerPoint Presentation</vt:lpstr>
      <vt:lpstr>Complaints About Queueing Situation</vt:lpstr>
      <vt:lpstr>Disney’s Queueing Situation</vt:lpstr>
      <vt:lpstr>Disney Queueing Situation</vt:lpstr>
      <vt:lpstr>Why Choosing Open Shop Model</vt:lpstr>
      <vt:lpstr>Genetic Algorithm</vt:lpstr>
      <vt:lpstr>Genetic Algorithm</vt:lpstr>
      <vt:lpstr>Genetic Algorithm</vt:lpstr>
      <vt:lpstr>Genetic Algorithm</vt:lpstr>
      <vt:lpstr>Total Tardiness Outcom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joanweiwbb@gmail.com</dc:creator>
  <cp:lastModifiedBy>Ye Yuan</cp:lastModifiedBy>
  <cp:revision>274</cp:revision>
  <cp:lastPrinted>2019-04-29T20:30:40Z</cp:lastPrinted>
  <dcterms:created xsi:type="dcterms:W3CDTF">2018-10-13T20:01:41Z</dcterms:created>
  <dcterms:modified xsi:type="dcterms:W3CDTF">2019-04-30T06:10:40Z</dcterms:modified>
</cp:coreProperties>
</file>